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09" r:id="rId1"/>
  </p:sldMasterIdLst>
  <p:notesMasterIdLst>
    <p:notesMasterId r:id="rId158"/>
  </p:notesMasterIdLst>
  <p:handoutMasterIdLst>
    <p:handoutMasterId r:id="rId159"/>
  </p:handoutMasterIdLst>
  <p:sldIdLst>
    <p:sldId id="287" r:id="rId2"/>
    <p:sldId id="304" r:id="rId3"/>
    <p:sldId id="453" r:id="rId4"/>
    <p:sldId id="324" r:id="rId5"/>
    <p:sldId id="335" r:id="rId6"/>
    <p:sldId id="311" r:id="rId7"/>
    <p:sldId id="339" r:id="rId8"/>
    <p:sldId id="338" r:id="rId9"/>
    <p:sldId id="340" r:id="rId10"/>
    <p:sldId id="336" r:id="rId11"/>
    <p:sldId id="341" r:id="rId12"/>
    <p:sldId id="350" r:id="rId13"/>
    <p:sldId id="351" r:id="rId14"/>
    <p:sldId id="352" r:id="rId15"/>
    <p:sldId id="353" r:id="rId16"/>
    <p:sldId id="354" r:id="rId17"/>
    <p:sldId id="355" r:id="rId18"/>
    <p:sldId id="349" r:id="rId19"/>
    <p:sldId id="356" r:id="rId20"/>
    <p:sldId id="357" r:id="rId21"/>
    <p:sldId id="358" r:id="rId22"/>
    <p:sldId id="359" r:id="rId23"/>
    <p:sldId id="360" r:id="rId24"/>
    <p:sldId id="361" r:id="rId25"/>
    <p:sldId id="379" r:id="rId26"/>
    <p:sldId id="362" r:id="rId27"/>
    <p:sldId id="363" r:id="rId28"/>
    <p:sldId id="364" r:id="rId29"/>
    <p:sldId id="365" r:id="rId30"/>
    <p:sldId id="366" r:id="rId31"/>
    <p:sldId id="367" r:id="rId32"/>
    <p:sldId id="368" r:id="rId33"/>
    <p:sldId id="369" r:id="rId34"/>
    <p:sldId id="370" r:id="rId35"/>
    <p:sldId id="371" r:id="rId36"/>
    <p:sldId id="372" r:id="rId37"/>
    <p:sldId id="373" r:id="rId38"/>
    <p:sldId id="374" r:id="rId39"/>
    <p:sldId id="375" r:id="rId40"/>
    <p:sldId id="376" r:id="rId41"/>
    <p:sldId id="377" r:id="rId42"/>
    <p:sldId id="378" r:id="rId43"/>
    <p:sldId id="380" r:id="rId44"/>
    <p:sldId id="381" r:id="rId45"/>
    <p:sldId id="382" r:id="rId46"/>
    <p:sldId id="383" r:id="rId47"/>
    <p:sldId id="384" r:id="rId48"/>
    <p:sldId id="385" r:id="rId49"/>
    <p:sldId id="386" r:id="rId50"/>
    <p:sldId id="387" r:id="rId51"/>
    <p:sldId id="388" r:id="rId52"/>
    <p:sldId id="389" r:id="rId53"/>
    <p:sldId id="390" r:id="rId54"/>
    <p:sldId id="391" r:id="rId55"/>
    <p:sldId id="392" r:id="rId56"/>
    <p:sldId id="393" r:id="rId57"/>
    <p:sldId id="394" r:id="rId58"/>
    <p:sldId id="395" r:id="rId59"/>
    <p:sldId id="396" r:id="rId60"/>
    <p:sldId id="397" r:id="rId61"/>
    <p:sldId id="398" r:id="rId62"/>
    <p:sldId id="399" r:id="rId63"/>
    <p:sldId id="400" r:id="rId64"/>
    <p:sldId id="401" r:id="rId65"/>
    <p:sldId id="402" r:id="rId66"/>
    <p:sldId id="403" r:id="rId67"/>
    <p:sldId id="404" r:id="rId68"/>
    <p:sldId id="405" r:id="rId69"/>
    <p:sldId id="406" r:id="rId70"/>
    <p:sldId id="407" r:id="rId71"/>
    <p:sldId id="408" r:id="rId72"/>
    <p:sldId id="409" r:id="rId73"/>
    <p:sldId id="410" r:id="rId74"/>
    <p:sldId id="411" r:id="rId75"/>
    <p:sldId id="412" r:id="rId76"/>
    <p:sldId id="413" r:id="rId77"/>
    <p:sldId id="414" r:id="rId78"/>
    <p:sldId id="415" r:id="rId79"/>
    <p:sldId id="416" r:id="rId80"/>
    <p:sldId id="417" r:id="rId81"/>
    <p:sldId id="418" r:id="rId82"/>
    <p:sldId id="419" r:id="rId83"/>
    <p:sldId id="420" r:id="rId84"/>
    <p:sldId id="421" r:id="rId85"/>
    <p:sldId id="422" r:id="rId86"/>
    <p:sldId id="423" r:id="rId87"/>
    <p:sldId id="424" r:id="rId88"/>
    <p:sldId id="425" r:id="rId89"/>
    <p:sldId id="426" r:id="rId90"/>
    <p:sldId id="427" r:id="rId91"/>
    <p:sldId id="428" r:id="rId92"/>
    <p:sldId id="429" r:id="rId93"/>
    <p:sldId id="430" r:id="rId94"/>
    <p:sldId id="431" r:id="rId95"/>
    <p:sldId id="432" r:id="rId96"/>
    <p:sldId id="433" r:id="rId97"/>
    <p:sldId id="434" r:id="rId98"/>
    <p:sldId id="435" r:id="rId99"/>
    <p:sldId id="436" r:id="rId100"/>
    <p:sldId id="437" r:id="rId101"/>
    <p:sldId id="438" r:id="rId102"/>
    <p:sldId id="439" r:id="rId103"/>
    <p:sldId id="440" r:id="rId104"/>
    <p:sldId id="441" r:id="rId105"/>
    <p:sldId id="442" r:id="rId106"/>
    <p:sldId id="443" r:id="rId107"/>
    <p:sldId id="444" r:id="rId108"/>
    <p:sldId id="445" r:id="rId109"/>
    <p:sldId id="446" r:id="rId110"/>
    <p:sldId id="447" r:id="rId111"/>
    <p:sldId id="448" r:id="rId112"/>
    <p:sldId id="449" r:id="rId113"/>
    <p:sldId id="450" r:id="rId114"/>
    <p:sldId id="451" r:id="rId115"/>
    <p:sldId id="452" r:id="rId116"/>
    <p:sldId id="454" r:id="rId117"/>
    <p:sldId id="482" r:id="rId118"/>
    <p:sldId id="455" r:id="rId119"/>
    <p:sldId id="457" r:id="rId120"/>
    <p:sldId id="459" r:id="rId121"/>
    <p:sldId id="460" r:id="rId122"/>
    <p:sldId id="461" r:id="rId123"/>
    <p:sldId id="462" r:id="rId124"/>
    <p:sldId id="463" r:id="rId125"/>
    <p:sldId id="464" r:id="rId126"/>
    <p:sldId id="458" r:id="rId127"/>
    <p:sldId id="465" r:id="rId128"/>
    <p:sldId id="466" r:id="rId129"/>
    <p:sldId id="467" r:id="rId130"/>
    <p:sldId id="468" r:id="rId131"/>
    <p:sldId id="469" r:id="rId132"/>
    <p:sldId id="470" r:id="rId133"/>
    <p:sldId id="471" r:id="rId134"/>
    <p:sldId id="472" r:id="rId135"/>
    <p:sldId id="473" r:id="rId136"/>
    <p:sldId id="474" r:id="rId137"/>
    <p:sldId id="475" r:id="rId138"/>
    <p:sldId id="476" r:id="rId139"/>
    <p:sldId id="477" r:id="rId140"/>
    <p:sldId id="479" r:id="rId141"/>
    <p:sldId id="478" r:id="rId142"/>
    <p:sldId id="480" r:id="rId143"/>
    <p:sldId id="481" r:id="rId144"/>
    <p:sldId id="483" r:id="rId145"/>
    <p:sldId id="484" r:id="rId146"/>
    <p:sldId id="485" r:id="rId147"/>
    <p:sldId id="488" r:id="rId148"/>
    <p:sldId id="489" r:id="rId149"/>
    <p:sldId id="492" r:id="rId150"/>
    <p:sldId id="490" r:id="rId151"/>
    <p:sldId id="491" r:id="rId152"/>
    <p:sldId id="493" r:id="rId153"/>
    <p:sldId id="494" r:id="rId154"/>
    <p:sldId id="495" r:id="rId155"/>
    <p:sldId id="496" r:id="rId156"/>
    <p:sldId id="283" r:id="rId157"/>
  </p:sldIdLst>
  <p:sldSz cx="9144000" cy="6858000" type="screen4x3"/>
  <p:notesSz cx="6858000" cy="9144000"/>
  <p:embeddedFontLst>
    <p:embeddedFont>
      <p:font typeface="Tele-GroteskNor" pitchFamily="2" charset="0"/>
      <p:regular r:id="rId160"/>
    </p:embeddedFont>
    <p:embeddedFont>
      <p:font typeface="Tele-GroteskFet" pitchFamily="2" charset="0"/>
      <p:bold r:id="rId161"/>
    </p:embeddedFont>
    <p:embeddedFont>
      <p:font typeface="TeleGrotesk Headline Ultra" pitchFamily="2" charset="0"/>
      <p:bold r:id="rId162"/>
    </p:embeddedFont>
    <p:embeddedFont>
      <p:font typeface="Arial Narrow" panose="020B0606020202030204" pitchFamily="34" charset="0"/>
      <p:regular r:id="rId163"/>
      <p:bold r:id="rId164"/>
      <p:italic r:id="rId165"/>
      <p:boldItalic r:id="rId166"/>
    </p:embeddedFont>
    <p:embeddedFont>
      <p:font typeface="Tele-GroteskUlt" pitchFamily="2" charset="0"/>
      <p:bold r:id="rId167"/>
    </p:embeddedFont>
    <p:embeddedFont>
      <p:font typeface="Tele-GroteskNCNor" panose="020B0604020202020204" charset="0"/>
      <p:regular r:id="rId168"/>
    </p:embeddedFont>
    <p:embeddedFont>
      <p:font typeface="Wingdings 2" panose="05020102010507070707" pitchFamily="18" charset="2"/>
      <p:regular r:id="rId169"/>
    </p:embeddedFont>
    <p:embeddedFont>
      <p:font typeface="TeleGrotesk Headline" pitchFamily="2" charset="0"/>
      <p:regular r:id="rId170"/>
    </p:embeddedFont>
    <p:embeddedFont>
      <p:font typeface="Arial Unicode MS" panose="020B0604020202020204" pitchFamily="34" charset="-128"/>
      <p:regular r:id="rId171"/>
    </p:embeddedFont>
  </p:embeddedFontLst>
  <p:custDataLst>
    <p:tags r:id="rId172"/>
  </p:custDataLst>
  <p:defaultTextStyle>
    <a:defPPr>
      <a:defRPr lang="de-DE"/>
    </a:defPPr>
    <a:lvl1pPr marL="0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249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4995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7492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9989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1248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087C607-AA5E-42DE-9F78-FAB5028A458C}">
          <p14:sldIdLst>
            <p14:sldId id="287"/>
            <p14:sldId id="304"/>
            <p14:sldId id="453"/>
            <p14:sldId id="324"/>
            <p14:sldId id="335"/>
            <p14:sldId id="311"/>
            <p14:sldId id="339"/>
            <p14:sldId id="338"/>
            <p14:sldId id="340"/>
            <p14:sldId id="336"/>
            <p14:sldId id="341"/>
            <p14:sldId id="350"/>
            <p14:sldId id="351"/>
            <p14:sldId id="352"/>
            <p14:sldId id="353"/>
            <p14:sldId id="354"/>
            <p14:sldId id="355"/>
            <p14:sldId id="349"/>
            <p14:sldId id="356"/>
            <p14:sldId id="357"/>
            <p14:sldId id="358"/>
            <p14:sldId id="359"/>
            <p14:sldId id="360"/>
            <p14:sldId id="361"/>
            <p14:sldId id="379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  <p14:sldId id="374"/>
            <p14:sldId id="375"/>
            <p14:sldId id="376"/>
            <p14:sldId id="377"/>
            <p14:sldId id="378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2"/>
            <p14:sldId id="454"/>
            <p14:sldId id="482"/>
            <p14:sldId id="455"/>
            <p14:sldId id="457"/>
            <p14:sldId id="459"/>
            <p14:sldId id="460"/>
            <p14:sldId id="461"/>
            <p14:sldId id="462"/>
            <p14:sldId id="463"/>
            <p14:sldId id="464"/>
            <p14:sldId id="458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9"/>
            <p14:sldId id="478"/>
            <p14:sldId id="480"/>
            <p14:sldId id="481"/>
            <p14:sldId id="483"/>
            <p14:sldId id="484"/>
            <p14:sldId id="485"/>
            <p14:sldId id="488"/>
            <p14:sldId id="489"/>
            <p14:sldId id="492"/>
            <p14:sldId id="490"/>
            <p14:sldId id="491"/>
            <p14:sldId id="493"/>
            <p14:sldId id="494"/>
            <p14:sldId id="495"/>
            <p14:sldId id="496"/>
            <p14:sldId id="283"/>
          </p14:sldIdLst>
        </p14:section>
      </p14:sectionLst>
    </p:ex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999999"/>
    <a:srgbClr val="BABD5A"/>
    <a:srgbClr val="427BAB"/>
    <a:srgbClr val="E20074"/>
    <a:srgbClr val="4B4B4B"/>
    <a:srgbClr val="E20000"/>
    <a:srgbClr val="992C99"/>
    <a:srgbClr val="C4C4C4"/>
    <a:srgbClr val="00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2043" autoAdjust="0"/>
    <p:restoredTop sz="86432" autoAdjust="0"/>
  </p:normalViewPr>
  <p:slideViewPr>
    <p:cSldViewPr snapToGrid="0" snapToObjects="1">
      <p:cViewPr>
        <p:scale>
          <a:sx n="125" d="100"/>
          <a:sy n="125" d="100"/>
        </p:scale>
        <p:origin x="-1200" y="-282"/>
      </p:cViewPr>
      <p:guideLst>
        <p:guide orient="horz" pos="2160"/>
        <p:guide orient="horz" pos="205"/>
        <p:guide orient="horz" pos="926"/>
        <p:guide orient="horz" pos="3486"/>
        <p:guide orient="horz" pos="679"/>
        <p:guide orient="horz" pos="3723"/>
        <p:guide orient="horz" pos="3959"/>
        <p:guide orient="horz" pos="4114"/>
        <p:guide pos="206"/>
        <p:guide pos="1564"/>
        <p:guide pos="1480"/>
        <p:guide pos="5554"/>
        <p:guide pos="4279"/>
        <p:guide pos="4197"/>
        <p:guide pos="2921"/>
        <p:guide pos="2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handoutMaster" Target="handoutMasters/handoutMaster1.xml"/><Relationship Id="rId175" Type="http://schemas.openxmlformats.org/officeDocument/2006/relationships/viewProps" Target="viewProps.xml"/><Relationship Id="rId170" Type="http://schemas.openxmlformats.org/officeDocument/2006/relationships/font" Target="fonts/font11.fntdata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font" Target="fonts/font1.fntdata"/><Relationship Id="rId165" Type="http://schemas.openxmlformats.org/officeDocument/2006/relationships/font" Target="fonts/font6.fntdata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font" Target="fonts/font12.fntdata"/><Relationship Id="rId176" Type="http://schemas.openxmlformats.org/officeDocument/2006/relationships/theme" Target="theme/theme1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font" Target="fonts/font2.fntdata"/><Relationship Id="rId166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font" Target="fonts/font5.fntdata"/><Relationship Id="rId169" Type="http://schemas.openxmlformats.org/officeDocument/2006/relationships/font" Target="fonts/font10.fntdata"/><Relationship Id="rId177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tags" Target="tags/tag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font" Target="fonts/font8.fntdata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font" Target="fonts/font3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font" Target="fonts/font9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font" Target="fonts/font4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presProps" Target="pres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77753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64144" indent="-86392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41897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612487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93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4"/>
          <p:cNvPicPr>
            <a:picLocks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26551" y="6056888"/>
            <a:ext cx="3271742" cy="594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907A9ED-01F0-4F12-BE6C-05CF7DECFF9B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598FAE7-31A4-4BF7-96B9-A7C0850C704A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18B6681-BDA9-4757-81B0-CBF17BE56D73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ish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80DA265-288A-4FA5-BD95-1BCF5BE9CF9D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26551" y="6255587"/>
            <a:ext cx="2606611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2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FEC39F-E7F8-4BE2-95B2-C16C33BD7358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FCFE77-6EB1-46DA-9278-7C7DB82D3D02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0412F-871D-4D19-B533-32F67FAAA376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796C1-BE04-4094-B23C-DCE3A50740B4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26E39-E29C-4798-90DD-4D19B01BC21B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D1B07A-C1DE-4B7D-9D32-6CF28A8B8FC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55EC56-C7F4-410D-808E-D480EA3BE09D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CFF1DF7-9FDD-43B4-AA49-96257DE6B2CE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93E5AD-FD47-4A18-985F-0501C7BBDA14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80C302-2FBF-4984-9B5E-79740EC6B745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5E298D9-79B9-4772-BE11-C0FF414527D4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2068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December 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26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9204_62681_PowerPoint_(RGB)_2017-11-30"/>
          <p:cNvPicPr>
            <a:picLocks noGrp="1" noChangeAspect="1"/>
          </p:cNvPicPr>
          <p:nvPr isPhoto="1" userDrawn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996861"/>
            <a:ext cx="8495361" cy="2536888"/>
            <a:chOff x="251" y="2379"/>
            <a:chExt cx="5282" cy="151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3208"/>
              <a:ext cx="5282" cy="68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379"/>
              <a:ext cx="4817" cy="151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63"/>
              <a:ext cx="4502" cy="132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9666" y="5896922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E08171-0EAE-4879-9BFF-62C849FFABF2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824B65A-8C2A-497F-8EED-DD1288461E05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F5B5B3-3F92-46A4-BD5C-CDE8EB377404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E9F897-6773-4314-B3B1-9B28FA7359EB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04C3C80-178E-4DD3-872B-F4FA1F4DBDBE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26551" y="6275655"/>
            <a:ext cx="2606608" cy="473449"/>
          </a:xfrm>
          <a:prstGeom prst="rect">
            <a:avLst/>
          </a:prstGeom>
        </p:spPr>
      </p:pic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>
          <a:xfrm>
            <a:off x="7647829" y="6331162"/>
            <a:ext cx="816378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69EF3C21-904E-4403-80A0-E589DBDAB8D0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3461443" y="6331162"/>
            <a:ext cx="4117810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532782" y="6331162"/>
            <a:ext cx="290631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7" r:id="rId13"/>
    <p:sldLayoutId id="2147483972" r:id="rId14"/>
    <p:sldLayoutId id="2147483971" r:id="rId15"/>
    <p:sldLayoutId id="2147483973" r:id="rId16"/>
    <p:sldLayoutId id="2147483716" r:id="rId17"/>
    <p:sldLayoutId id="2147483718" r:id="rId18"/>
    <p:sldLayoutId id="2147483722" r:id="rId19"/>
    <p:sldLayoutId id="2147483723" r:id="rId20"/>
    <p:sldLayoutId id="2147483969" r:id="rId21"/>
    <p:sldLayoutId id="2147483970" r:id="rId22"/>
    <p:sldLayoutId id="2147483930" r:id="rId23"/>
    <p:sldLayoutId id="2147483959" r:id="rId24"/>
    <p:sldLayoutId id="2147483960" r:id="rId25"/>
    <p:sldLayoutId id="2147483978" r:id="rId26"/>
    <p:sldLayoutId id="2147483979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github.com/angular/angular-seed.git" TargetMode="External"/><Relationship Id="rId1" Type="http://schemas.openxmlformats.org/officeDocument/2006/relationships/slideLayout" Target="../slideLayouts/slideLayout18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8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share.net/carlo.bonamico/angularjs-security-defend-your-single-page-application" TargetMode="External"/><Relationship Id="rId2" Type="http://schemas.openxmlformats.org/officeDocument/2006/relationships/hyperlink" Target="https://security.googleblog.com/2011/05/website-security-for-webmasters.html" TargetMode="External"/><Relationship Id="rId1" Type="http://schemas.openxmlformats.org/officeDocument/2006/relationships/slideLayout" Target="../slideLayouts/slideLayout18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Boris.Finkelshteyn@t-systems.ru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7.jpg"/><Relationship Id="rId4" Type="http://schemas.openxmlformats.org/officeDocument/2006/relationships/hyperlink" Target="https://yam.telekom.de/people/andrey_bulov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magenta_flaeche_70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68"/>
          <a:stretch>
            <a:fillRect/>
          </a:stretch>
        </p:blipFill>
        <p:spPr bwMode="auto">
          <a:xfrm>
            <a:off x="319088" y="3921125"/>
            <a:ext cx="850106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3"/>
          <p:cNvSpPr>
            <a:spLocks/>
          </p:cNvSpPr>
          <p:nvPr/>
        </p:nvSpPr>
        <p:spPr bwMode="invGray">
          <a:xfrm>
            <a:off x="319088" y="4222750"/>
            <a:ext cx="8501062" cy="1824038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0" rIns="0" bIns="0"/>
          <a:lstStyle/>
          <a:p>
            <a:pPr>
              <a:lnSpc>
                <a:spcPts val="4000"/>
              </a:lnSpc>
              <a:spcBef>
                <a:spcPct val="0"/>
              </a:spcBef>
              <a:defRPr/>
            </a:pPr>
            <a:r>
              <a:rPr lang="en-US" sz="4000" dirty="0" smtClean="0">
                <a:solidFill>
                  <a:srgbClr val="FFFFFF"/>
                </a:solidFill>
                <a:latin typeface="TeleGrotesk Headline Ultra" pitchFamily="2" charset="0"/>
              </a:rPr>
              <a:t>ANGULAR JS</a:t>
            </a:r>
          </a:p>
        </p:txBody>
      </p:sp>
      <p:sp>
        <p:nvSpPr>
          <p:cNvPr id="6" name="Textplatzhalter 4"/>
          <p:cNvSpPr>
            <a:spLocks/>
          </p:cNvSpPr>
          <p:nvPr/>
        </p:nvSpPr>
        <p:spPr bwMode="gray">
          <a:xfrm>
            <a:off x="468313" y="5159375"/>
            <a:ext cx="82073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72000"/>
          <a:lstStyle/>
          <a:p>
            <a:pPr algn="l">
              <a:spcBef>
                <a:spcPct val="0"/>
              </a:spcBef>
              <a:buClr>
                <a:srgbClr val="E20074"/>
              </a:buClr>
            </a:pPr>
            <a:r>
              <a:rPr lang="de-DE" altLang="ru-RU" sz="2400" b="0" dirty="0" smtClean="0">
                <a:solidFill>
                  <a:srgbClr val="FFFFFF"/>
                </a:solidFill>
              </a:rPr>
              <a:t>			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T-Systems </a:t>
            </a:r>
            <a:r>
              <a:rPr lang="en-US" sz="2400" dirty="0">
                <a:solidFill>
                  <a:srgbClr val="FFFFFF"/>
                </a:solidFill>
                <a:latin typeface="Tele-GroteskNor" pitchFamily="2" charset="0"/>
              </a:rPr>
              <a:t>Russia, </a:t>
            </a: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Boris Finkelshteyn</a:t>
            </a:r>
            <a:endParaRPr lang="ru-RU" sz="2400" dirty="0">
              <a:solidFill>
                <a:srgbClr val="FFFFFF"/>
              </a:solidFill>
              <a:latin typeface="Tele-GroteskNor" pitchFamily="2" charset="0"/>
            </a:endParaRPr>
          </a:p>
          <a:p>
            <a:pPr algn="l">
              <a:lnSpc>
                <a:spcPct val="90000"/>
              </a:lnSpc>
              <a:spcBef>
                <a:spcPct val="25000"/>
              </a:spcBef>
            </a:pPr>
            <a:endParaRPr lang="de-DE" altLang="ru-RU" sz="2400" dirty="0">
              <a:solidFill>
                <a:srgbClr val="FFFFFF"/>
              </a:solidFill>
              <a:latin typeface="Tele-Grotesk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47829" y="6331162"/>
            <a:ext cx="816378" cy="290600"/>
          </a:xfrm>
        </p:spPr>
        <p:txBody>
          <a:bodyPr/>
          <a:lstStyle/>
          <a:p>
            <a:fld id="{FB32677D-4DA1-472B-A0A4-69EC1A19F7AD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hat is Angular JS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061221"/>
              </p:ext>
            </p:extLst>
          </p:nvPr>
        </p:nvGraphicFramePr>
        <p:xfrm>
          <a:off x="155606" y="2004467"/>
          <a:ext cx="8496300" cy="2831239"/>
        </p:xfrm>
        <a:graphic>
          <a:graphicData uri="http://schemas.openxmlformats.org/drawingml/2006/table">
            <a:tbl>
              <a:tblPr/>
              <a:tblGrid>
                <a:gridCol w="4248150"/>
                <a:gridCol w="4248150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99622" y="996355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реймворк для клиентской части </a:t>
            </a:r>
            <a:r>
              <a:rPr lang="ru-RU" dirty="0" err="1" smtClean="0"/>
              <a:t>вэб</a:t>
            </a:r>
            <a:r>
              <a:rPr lang="ru-RU" dirty="0" smtClean="0"/>
              <a:t> приложения, который добавляет интерактивность в </a:t>
            </a:r>
            <a:r>
              <a:rPr lang="en-US" dirty="0" smtClean="0"/>
              <a:t>HTML</a:t>
            </a:r>
            <a:r>
              <a:rPr lang="ru-RU" dirty="0" smtClean="0"/>
              <a:t> разметку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61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’ll also need to include the fi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51422"/>
              </p:ext>
            </p:extLst>
          </p:nvPr>
        </p:nvGraphicFramePr>
        <p:xfrm>
          <a:off x="303182" y="134597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tml ng-app="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ead&gt; . . . &lt;/head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ngular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pp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cript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products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body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5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wo 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72193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Services </a:t>
            </a:r>
          </a:p>
        </p:txBody>
      </p:sp>
    </p:spTree>
    <p:extLst>
      <p:ext uri="{BB962C8B-B14F-4D97-AF65-F5344CB8AC3E}">
        <p14:creationId xmlns:p14="http://schemas.microsoft.com/office/powerpoint/2010/main" val="420999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 this feel strange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797760"/>
              </p:ext>
            </p:extLst>
          </p:nvPr>
        </p:nvGraphicFramePr>
        <p:xfrm>
          <a:off x="303182" y="1345973"/>
          <a:ext cx="8229600" cy="371856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]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6433018" y="3715370"/>
            <a:ext cx="183911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Что все эти данные тут делают?</a:t>
            </a:r>
          </a:p>
        </p:txBody>
      </p:sp>
      <p:sp>
        <p:nvSpPr>
          <p:cNvPr id="23" name="Freeform 22"/>
          <p:cNvSpPr/>
          <p:nvPr/>
        </p:nvSpPr>
        <p:spPr bwMode="gray">
          <a:xfrm rot="885860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Straight Arrow Connector 23"/>
          <p:cNvCxnSpPr>
            <a:stCxn id="23" idx="2"/>
          </p:cNvCxnSpPr>
          <p:nvPr/>
        </p:nvCxnSpPr>
        <p:spPr>
          <a:xfrm flipH="1" flipV="1">
            <a:off x="5632245" y="2858106"/>
            <a:ext cx="111725" cy="240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gray">
          <a:xfrm>
            <a:off x="1354200" y="5069140"/>
            <a:ext cx="45929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уда мы можем это переместить?</a:t>
            </a:r>
          </a:p>
          <a:p>
            <a:pPr marL="0" indent="0">
              <a:buNone/>
            </a:pPr>
            <a:r>
              <a:rPr lang="ru-RU" sz="1800" dirty="0" smtClean="0"/>
              <a:t>Должны-ли мы получа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342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28" grpId="0"/>
    </p:bld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do we get that data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844342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4873576" y="2336630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получи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4191831" y="2113643"/>
            <a:ext cx="219844" cy="795676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16545"/>
              </p:ext>
            </p:extLst>
          </p:nvPr>
        </p:nvGraphicFramePr>
        <p:xfrm>
          <a:off x="3381152" y="4363939"/>
          <a:ext cx="4997303" cy="1510284"/>
        </p:xfrm>
        <a:graphic>
          <a:graphicData uri="http://schemas.openxmlformats.org/drawingml/2006/table">
            <a:tbl>
              <a:tblPr/>
              <a:tblGrid>
                <a:gridCol w="499730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 bwMode="gray">
          <a:xfrm>
            <a:off x="3461443" y="4014237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/>
              <a:t>http://api.example.com/products.json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13189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1" grpId="0" animBg="1"/>
      <p:bldP spid="13" grpId="0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 need a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1288510"/>
            <a:ext cx="8482972" cy="1787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Сервисы дают контроллеру дополнительную функциональность: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олучать</a:t>
            </a:r>
            <a:r>
              <a:rPr lang="en-US" sz="2000" dirty="0" smtClean="0">
                <a:latin typeface="Arial Narrow" pitchFamily="34" charset="0"/>
              </a:rPr>
              <a:t> JSON</a:t>
            </a:r>
            <a:r>
              <a:rPr lang="ru-RU" sz="2000" dirty="0" smtClean="0">
                <a:latin typeface="Arial Narrow" pitchFamily="34" charset="0"/>
              </a:rPr>
              <a:t> с веб-сервиса с помощью </a:t>
            </a:r>
            <a:r>
              <a:rPr lang="en-US" sz="2000" dirty="0" smtClean="0">
                <a:latin typeface="Arial Narrow" pitchFamily="34" charset="0"/>
              </a:rPr>
              <a:t>$http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исать сообщения в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r>
              <a:rPr lang="ru-RU" sz="2000" dirty="0" smtClean="0">
                <a:latin typeface="Arial Narrow" pitchFamily="34" charset="0"/>
              </a:rPr>
              <a:t> консоль с помощью </a:t>
            </a:r>
            <a:r>
              <a:rPr lang="en-US" sz="2000" dirty="0" smtClean="0">
                <a:latin typeface="Arial Narrow" pitchFamily="34" charset="0"/>
              </a:rPr>
              <a:t>$log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Фильтровать массив с помощью </a:t>
            </a:r>
            <a:r>
              <a:rPr lang="en-US" sz="2000" dirty="0" smtClean="0">
                <a:latin typeface="Arial Narrow" pitchFamily="34" charset="0"/>
              </a:rPr>
              <a:t>$filter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242084" y="3928021"/>
            <a:ext cx="248424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е встроенные сервисы начинаются с </a:t>
            </a:r>
            <a:r>
              <a:rPr lang="en-US" sz="1800" dirty="0" smtClean="0"/>
              <a:t>$</a:t>
            </a:r>
            <a:endParaRPr lang="ru-RU" sz="1800" dirty="0" smtClean="0"/>
          </a:p>
        </p:txBody>
      </p:sp>
      <p:sp>
        <p:nvSpPr>
          <p:cNvPr id="9" name="Freeform 8"/>
          <p:cNvSpPr/>
          <p:nvPr/>
        </p:nvSpPr>
        <p:spPr bwMode="gray">
          <a:xfrm rot="1097224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Straight Arrow Connector 9"/>
          <p:cNvCxnSpPr>
            <a:stCxn id="9" idx="2"/>
          </p:cNvCxnSpPr>
          <p:nvPr/>
        </p:nvCxnSpPr>
        <p:spPr>
          <a:xfrm flipH="1" flipV="1">
            <a:off x="5994699" y="2328084"/>
            <a:ext cx="71418" cy="6107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90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the $http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72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сервис позволять делать асинхронные запросы к серверу</a:t>
            </a:r>
            <a:endParaRPr lang="ru-RU" sz="2000" dirty="0">
              <a:solidFill>
                <a:srgbClr val="4B4B4B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спользуя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как функцию с параметрами</a:t>
            </a: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283732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ли использовать сокращенный метод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93240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GET', url: 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776453"/>
              </p:ext>
            </p:extLst>
          </p:nvPr>
        </p:nvGraphicFramePr>
        <p:xfrm>
          <a:off x="403642" y="3314695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038799"/>
            <a:ext cx="8482972" cy="100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а этих метода возвращают </a:t>
            </a:r>
            <a:r>
              <a:rPr lang="en-US" sz="2000" dirty="0" smtClean="0">
                <a:latin typeface="Arial Narrow" pitchFamily="34" charset="0"/>
              </a:rPr>
              <a:t>Promise</a:t>
            </a:r>
            <a:r>
              <a:rPr lang="ru-RU" sz="2000" dirty="0" smtClean="0">
                <a:latin typeface="Arial Narrow" pitchFamily="34" charset="0"/>
              </a:rPr>
              <a:t>-объект с </a:t>
            </a:r>
            <a:r>
              <a:rPr lang="en-US" sz="2000" dirty="0">
                <a:latin typeface="Arial Narrow" pitchFamily="34" charset="0"/>
              </a:rPr>
              <a:t>.success() </a:t>
            </a:r>
            <a:r>
              <a:rPr lang="ru-RU" sz="2000" dirty="0" smtClean="0">
                <a:latin typeface="Arial Narrow" pitchFamily="34" charset="0"/>
              </a:rPr>
              <a:t>и </a:t>
            </a:r>
            <a:r>
              <a:rPr lang="en-US" sz="2000" dirty="0" smtClean="0">
                <a:latin typeface="Arial Narrow" pitchFamily="34" charset="0"/>
              </a:rPr>
              <a:t>.error()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Если мы скажем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получить </a:t>
            </a:r>
            <a:r>
              <a:rPr lang="en-US" sz="2000" dirty="0" smtClean="0">
                <a:latin typeface="Arial Narrow" pitchFamily="34" charset="0"/>
              </a:rPr>
              <a:t>JSON</a:t>
            </a:r>
            <a:r>
              <a:rPr lang="ru-RU" sz="2000" dirty="0" smtClean="0">
                <a:latin typeface="Arial Narrow" pitchFamily="34" charset="0"/>
              </a:rPr>
              <a:t>, то результат будет автоматически декодирован в объекты и массивы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2458825" y="5302102"/>
            <a:ext cx="3963242" cy="712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так, как же нам использовать это?</a:t>
            </a:r>
          </a:p>
        </p:txBody>
      </p:sp>
    </p:spTree>
    <p:extLst>
      <p:ext uri="{BB962C8B-B14F-4D97-AF65-F5344CB8AC3E}">
        <p14:creationId xmlns:p14="http://schemas.microsoft.com/office/powerpoint/2010/main" val="1127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</p:bld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a Controller use a Service like $http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362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спользуем данный синтаксис для контроллера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383678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Если нужно больше одного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963824"/>
              </p:ext>
            </p:extLst>
          </p:nvPr>
        </p:nvGraphicFramePr>
        <p:xfrm>
          <a:off x="276051" y="1854655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function($http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3461443" y="2863860"/>
            <a:ext cx="150537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</a:t>
            </a:r>
          </a:p>
        </p:txBody>
      </p:sp>
      <p:sp>
        <p:nvSpPr>
          <p:cNvPr id="15" name="Down Arrow 14"/>
          <p:cNvSpPr/>
          <p:nvPr/>
        </p:nvSpPr>
        <p:spPr bwMode="auto">
          <a:xfrm rot="10800000">
            <a:off x="4570080" y="229860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68679" y="2881739"/>
            <a:ext cx="254827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 как аргумент</a:t>
            </a:r>
          </a:p>
        </p:txBody>
      </p:sp>
      <p:sp>
        <p:nvSpPr>
          <p:cNvPr id="17" name="Down Arrow 16"/>
          <p:cNvSpPr/>
          <p:nvPr/>
        </p:nvSpPr>
        <p:spPr bwMode="auto">
          <a:xfrm rot="10800000">
            <a:off x="6491028" y="2316480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008975"/>
              </p:ext>
            </p:extLst>
          </p:nvPr>
        </p:nvGraphicFramePr>
        <p:xfrm>
          <a:off x="198960" y="4303687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Content Placeholder 2"/>
          <p:cNvSpPr>
            <a:spLocks/>
          </p:cNvSpPr>
          <p:nvPr/>
        </p:nvSpPr>
        <p:spPr bwMode="gray">
          <a:xfrm>
            <a:off x="2542777" y="5534445"/>
            <a:ext cx="3795338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 и </a:t>
            </a:r>
            <a:r>
              <a:rPr lang="ru-RU" sz="2000" dirty="0">
                <a:latin typeface="Arial Narrow" pitchFamily="34" charset="0"/>
              </a:rPr>
              <a:t>есть </a:t>
            </a:r>
            <a:r>
              <a:rPr lang="ru-RU" sz="2000" dirty="0" smtClean="0">
                <a:latin typeface="Arial Narrow" pitchFamily="34" charset="0"/>
              </a:rPr>
              <a:t>внедрение зависимостей!</a:t>
            </a:r>
          </a:p>
        </p:txBody>
      </p:sp>
    </p:spTree>
    <p:extLst>
      <p:ext uri="{BB962C8B-B14F-4D97-AF65-F5344CB8AC3E}">
        <p14:creationId xmlns:p14="http://schemas.microsoft.com/office/powerpoint/2010/main" val="234674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 animBg="1"/>
      <p:bldP spid="16" grpId="0"/>
      <p:bldP spid="17" grpId="0" animBg="1"/>
      <p:bldP spid="19" grpId="0"/>
    </p:bld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OW Angular DI work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05032"/>
              </p:ext>
            </p:extLst>
          </p:nvPr>
        </p:nvGraphicFramePr>
        <p:xfrm>
          <a:off x="289499" y="1220245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15034" y="3425003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SomeControlle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23285" y="2270934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Angular Injecto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5993583" y="3103817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http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993583" y="4053660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algn="ctr" defTabSz="91440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log</a:t>
            </a:r>
            <a:endParaRPr lang="ru-RU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cxnSp>
        <p:nvCxnSpPr>
          <p:cNvPr id="12" name="Straight Arrow Connector 11"/>
          <p:cNvCxnSpPr>
            <a:stCxn id="16" idx="2"/>
          </p:cNvCxnSpPr>
          <p:nvPr/>
        </p:nvCxnSpPr>
        <p:spPr>
          <a:xfrm flipV="1">
            <a:off x="3030473" y="2448142"/>
            <a:ext cx="135066" cy="44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 bwMode="gray">
          <a:xfrm>
            <a:off x="1541914" y="2448587"/>
            <a:ext cx="1488559" cy="836428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Straight Arrow Connector 18"/>
          <p:cNvCxnSpPr>
            <a:stCxn id="20" idx="0"/>
          </p:cNvCxnSpPr>
          <p:nvPr/>
        </p:nvCxnSpPr>
        <p:spPr>
          <a:xfrm>
            <a:off x="5578242" y="3367052"/>
            <a:ext cx="43376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 bwMode="gray">
          <a:xfrm rot="14590336">
            <a:off x="4615655" y="2775186"/>
            <a:ext cx="985353" cy="554841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769898" y="4231290"/>
            <a:ext cx="54461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 bwMode="gray">
          <a:xfrm rot="14590336">
            <a:off x="4096291" y="3201452"/>
            <a:ext cx="1941244" cy="596646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 bwMode="gray">
          <a:xfrm>
            <a:off x="1767734" y="2172937"/>
            <a:ext cx="1262739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не нужны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r>
              <a:rPr lang="en-US" sz="1800" dirty="0" smtClean="0"/>
              <a:t>$http</a:t>
            </a:r>
            <a:r>
              <a:rPr lang="ru-RU" sz="1800" dirty="0" smtClean="0"/>
              <a:t> и </a:t>
            </a:r>
            <a:r>
              <a:rPr lang="en-US" sz="1800" dirty="0" smtClean="0"/>
              <a:t>$log</a:t>
            </a:r>
            <a:endParaRPr lang="ru-RU" sz="1800" dirty="0" smtClean="0"/>
          </a:p>
        </p:txBody>
      </p:sp>
      <p:sp>
        <p:nvSpPr>
          <p:cNvPr id="45" name="Freeform 44"/>
          <p:cNvSpPr/>
          <p:nvPr/>
        </p:nvSpPr>
        <p:spPr bwMode="gray">
          <a:xfrm>
            <a:off x="5519738" y="2421732"/>
            <a:ext cx="1295400" cy="676275"/>
          </a:xfrm>
          <a:custGeom>
            <a:avLst/>
            <a:gdLst>
              <a:gd name="connsiteX0" fmla="*/ 1295400 w 1295400"/>
              <a:gd name="connsiteY0" fmla="*/ 676275 h 676275"/>
              <a:gd name="connsiteX1" fmla="*/ 814387 w 1295400"/>
              <a:gd name="connsiteY1" fmla="*/ 195262 h 676275"/>
              <a:gd name="connsiteX2" fmla="*/ 0 w 1295400"/>
              <a:gd name="connsiteY2" fmla="*/ 0 h 676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400" h="676275">
                <a:moveTo>
                  <a:pt x="1295400" y="676275"/>
                </a:moveTo>
                <a:cubicBezTo>
                  <a:pt x="1162843" y="492125"/>
                  <a:pt x="1030287" y="307975"/>
                  <a:pt x="814387" y="195262"/>
                </a:cubicBezTo>
                <a:cubicBezTo>
                  <a:pt x="598487" y="82549"/>
                  <a:pt x="130969" y="32544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Freeform 45"/>
          <p:cNvSpPr/>
          <p:nvPr/>
        </p:nvSpPr>
        <p:spPr bwMode="gray">
          <a:xfrm>
            <a:off x="5448300" y="2657475"/>
            <a:ext cx="595313" cy="1376363"/>
          </a:xfrm>
          <a:custGeom>
            <a:avLst/>
            <a:gdLst>
              <a:gd name="connsiteX0" fmla="*/ 595313 w 595313"/>
              <a:gd name="connsiteY0" fmla="*/ 1376363 h 1376363"/>
              <a:gd name="connsiteX1" fmla="*/ 290513 w 595313"/>
              <a:gd name="connsiteY1" fmla="*/ 404813 h 1376363"/>
              <a:gd name="connsiteX2" fmla="*/ 0 w 595313"/>
              <a:gd name="connsiteY2" fmla="*/ 0 h 137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13" h="1376363">
                <a:moveTo>
                  <a:pt x="595313" y="1376363"/>
                </a:moveTo>
                <a:cubicBezTo>
                  <a:pt x="492522" y="1005285"/>
                  <a:pt x="389732" y="634207"/>
                  <a:pt x="290513" y="404813"/>
                </a:cubicBezTo>
                <a:cubicBezTo>
                  <a:pt x="191294" y="175419"/>
                  <a:pt x="0" y="0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7" name="Straight Arrow Connector 46"/>
          <p:cNvCxnSpPr>
            <a:stCxn id="45" idx="2"/>
          </p:cNvCxnSpPr>
          <p:nvPr/>
        </p:nvCxnSpPr>
        <p:spPr>
          <a:xfrm flipH="1">
            <a:off x="5469399" y="2421732"/>
            <a:ext cx="50339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6" idx="2"/>
          </p:cNvCxnSpPr>
          <p:nvPr/>
        </p:nvCxnSpPr>
        <p:spPr>
          <a:xfrm flipH="1" flipV="1">
            <a:off x="5419061" y="2624787"/>
            <a:ext cx="29239" cy="3268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Freeform 56"/>
          <p:cNvSpPr/>
          <p:nvPr/>
        </p:nvSpPr>
        <p:spPr bwMode="gray">
          <a:xfrm>
            <a:off x="2419350" y="2657475"/>
            <a:ext cx="1214438" cy="804863"/>
          </a:xfrm>
          <a:custGeom>
            <a:avLst/>
            <a:gdLst>
              <a:gd name="connsiteX0" fmla="*/ 1214438 w 1214438"/>
              <a:gd name="connsiteY0" fmla="*/ 0 h 804863"/>
              <a:gd name="connsiteX1" fmla="*/ 595313 w 1214438"/>
              <a:gd name="connsiteY1" fmla="*/ 661988 h 804863"/>
              <a:gd name="connsiteX2" fmla="*/ 0 w 1214438"/>
              <a:gd name="connsiteY2" fmla="*/ 804863 h 8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4438" h="804863">
                <a:moveTo>
                  <a:pt x="1214438" y="0"/>
                </a:moveTo>
                <a:cubicBezTo>
                  <a:pt x="1006078" y="263922"/>
                  <a:pt x="797719" y="527844"/>
                  <a:pt x="595313" y="661988"/>
                </a:cubicBezTo>
                <a:cubicBezTo>
                  <a:pt x="392907" y="796132"/>
                  <a:pt x="196453" y="800497"/>
                  <a:pt x="0" y="804863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Straight Arrow Connector 57"/>
          <p:cNvCxnSpPr>
            <a:stCxn id="57" idx="2"/>
          </p:cNvCxnSpPr>
          <p:nvPr/>
        </p:nvCxnSpPr>
        <p:spPr>
          <a:xfrm flipH="1">
            <a:off x="2384484" y="3462338"/>
            <a:ext cx="34866" cy="387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Content Placeholder 2"/>
          <p:cNvSpPr>
            <a:spLocks/>
          </p:cNvSpPr>
          <p:nvPr/>
        </p:nvSpPr>
        <p:spPr bwMode="gray">
          <a:xfrm>
            <a:off x="1362922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</a:t>
            </a:r>
            <a:r>
              <a:rPr lang="ru-RU" sz="2000" dirty="0" err="1" smtClean="0">
                <a:latin typeface="Arial Narrow" pitchFamily="34" charset="0"/>
              </a:rPr>
              <a:t>ангуляр</a:t>
            </a:r>
            <a:r>
              <a:rPr lang="ru-RU" sz="2000" dirty="0" smtClean="0">
                <a:latin typeface="Arial Narrow" pitchFamily="34" charset="0"/>
              </a:rPr>
              <a:t> загружен – все сервисы зарегистрированы</a:t>
            </a:r>
          </a:p>
        </p:txBody>
      </p:sp>
      <p:sp>
        <p:nvSpPr>
          <p:cNvPr id="63" name="Content Placeholder 2"/>
          <p:cNvSpPr>
            <a:spLocks/>
          </p:cNvSpPr>
          <p:nvPr/>
        </p:nvSpPr>
        <p:spPr bwMode="gray">
          <a:xfrm>
            <a:off x="1362920" y="5103626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 Контроллер инициализирован</a:t>
            </a:r>
          </a:p>
        </p:txBody>
      </p:sp>
      <p:sp>
        <p:nvSpPr>
          <p:cNvPr id="64" name="Content Placeholder 2"/>
          <p:cNvSpPr>
            <a:spLocks/>
          </p:cNvSpPr>
          <p:nvPr/>
        </p:nvSpPr>
        <p:spPr bwMode="gray">
          <a:xfrm>
            <a:off x="1360674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контроллер запущен</a:t>
            </a:r>
          </a:p>
        </p:txBody>
      </p:sp>
    </p:spTree>
    <p:extLst>
      <p:ext uri="{BB962C8B-B14F-4D97-AF65-F5344CB8AC3E}">
        <p14:creationId xmlns:p14="http://schemas.microsoft.com/office/powerpoint/2010/main" val="349195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6" grpId="0" animBg="1"/>
      <p:bldP spid="20" grpId="0" animBg="1"/>
      <p:bldP spid="32" grpId="0" animBg="1"/>
      <p:bldP spid="44" grpId="0"/>
      <p:bldP spid="45" grpId="0" animBg="1"/>
      <p:bldP spid="46" grpId="0" animBg="1"/>
      <p:bldP spid="57" grpId="0" animBg="1"/>
      <p:bldP spid="61" grpId="0" animBg="1"/>
      <p:bldP spid="63" grpId="0" animBg="1"/>
      <p:bldP spid="64" grpId="0" animBg="1"/>
    </p:bld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ime for </a:t>
            </a:r>
            <a:r>
              <a:rPr lang="en-US" b="1" dirty="0" smtClean="0"/>
              <a:t>injection</a:t>
            </a:r>
            <a:r>
              <a:rPr lang="en-US" b="1" dirty="0"/>
              <a:t>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04733"/>
              </p:ext>
            </p:extLst>
          </p:nvPr>
        </p:nvGraphicFramePr>
        <p:xfrm>
          <a:off x="303182" y="1345973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649973" y="2027275"/>
            <a:ext cx="772632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6595731" y="2027275"/>
            <a:ext cx="52808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4839335" y="2349687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461443" y="3048158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/>
              <a:t>StoreController</a:t>
            </a:r>
            <a:r>
              <a:rPr lang="en-US" sz="1800" dirty="0"/>
              <a:t> </a:t>
            </a:r>
            <a:r>
              <a:rPr lang="ru-RU" sz="1800" dirty="0"/>
              <a:t>нужен $</a:t>
            </a:r>
            <a:r>
              <a:rPr lang="en-US" sz="1800" dirty="0"/>
              <a:t>http </a:t>
            </a:r>
            <a:r>
              <a:rPr lang="ru-RU" sz="1800" dirty="0"/>
              <a:t>сервис</a:t>
            </a: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6749850" y="2412465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016801" y="3136762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$</a:t>
            </a:r>
            <a:r>
              <a:rPr lang="en-US" sz="1800" dirty="0" smtClean="0"/>
              <a:t>http</a:t>
            </a:r>
            <a:r>
              <a:rPr lang="ru-RU" sz="1800" dirty="0" smtClean="0"/>
              <a:t> внедрен через аргумент</a:t>
            </a:r>
            <a:endParaRPr lang="ru-RU" sz="1800" dirty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3333273" y="4641869"/>
            <a:ext cx="230256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Что же теперь?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73261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/>
      <p:bldP spid="12" grpId="0" animBg="1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Directiv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379452"/>
              </p:ext>
            </p:extLst>
          </p:nvPr>
        </p:nvGraphicFramePr>
        <p:xfrm>
          <a:off x="228812" y="1730409"/>
          <a:ext cx="8496300" cy="2831239"/>
        </p:xfrm>
        <a:graphic>
          <a:graphicData uri="http://schemas.openxmlformats.org/drawingml/2006/table">
            <a:tbl>
              <a:tblPr/>
              <a:tblGrid>
                <a:gridCol w="4824536"/>
                <a:gridCol w="3671764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“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72828" y="722297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иректива это маркер в </a:t>
            </a:r>
            <a:r>
              <a:rPr lang="en-US" dirty="0" smtClean="0"/>
              <a:t>HTML</a:t>
            </a:r>
            <a:r>
              <a:rPr lang="ru-RU" dirty="0" smtClean="0"/>
              <a:t>-теге, который говорит </a:t>
            </a:r>
            <a:r>
              <a:rPr lang="ru-RU" dirty="0" err="1" smtClean="0"/>
              <a:t>Ангуляру</a:t>
            </a:r>
            <a:r>
              <a:rPr lang="ru-RU" dirty="0"/>
              <a:t> </a:t>
            </a:r>
            <a:r>
              <a:rPr lang="ru-RU" dirty="0" smtClean="0"/>
              <a:t>запустить или связать код на </a:t>
            </a:r>
            <a:r>
              <a:rPr lang="en-US" dirty="0" smtClean="0"/>
              <a:t>JavaScript.</a:t>
            </a:r>
            <a:endParaRPr lang="ru-RU" dirty="0"/>
          </a:p>
        </p:txBody>
      </p:sp>
      <p:sp>
        <p:nvSpPr>
          <p:cNvPr id="8" name="Down Arrow 7"/>
          <p:cNvSpPr/>
          <p:nvPr/>
        </p:nvSpPr>
        <p:spPr bwMode="auto">
          <a:xfrm>
            <a:off x="1957004" y="2887597"/>
            <a:ext cx="216024" cy="179514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Bent-Up Arrow 8"/>
          <p:cNvSpPr/>
          <p:nvPr/>
        </p:nvSpPr>
        <p:spPr bwMode="auto">
          <a:xfrm rot="5400000">
            <a:off x="4415433" y="2089025"/>
            <a:ext cx="432048" cy="2029193"/>
          </a:xfrm>
          <a:prstGeom prst="bentUpArrow">
            <a:avLst>
              <a:gd name="adj1" fmla="val 12955"/>
              <a:gd name="adj2" fmla="val 25000"/>
              <a:gd name="adj3" fmla="val 27631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7717644" y="2378481"/>
            <a:ext cx="216024" cy="581124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524956" y="4826753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Директива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5646054" y="2959605"/>
            <a:ext cx="2704284" cy="6430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Название</a:t>
            </a:r>
            <a:r>
              <a:rPr kumimoji="0" lang="ru-RU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 функции, которую надо выполнить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85018" y="2606020"/>
            <a:ext cx="332940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4681" y="2108794"/>
            <a:ext cx="1074287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38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et’s use our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960779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992374" y="26612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2626190" y="3149656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713000" y="3837713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лучаем данные из </a:t>
            </a:r>
          </a:p>
          <a:p>
            <a:r>
              <a:rPr lang="en-US" sz="1800" dirty="0" err="1"/>
              <a:t>products.json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674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/>
    </p:bld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ur Service will Return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825212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success(function(data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 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3919870" y="27301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4648759" y="3140149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44987" y="3751406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/>
              <a:t>$http</a:t>
            </a:r>
            <a:r>
              <a:rPr lang="ru-RU" sz="1800" dirty="0" smtClean="0"/>
              <a:t> возвращает </a:t>
            </a:r>
            <a:r>
              <a:rPr lang="en-US" sz="1800" dirty="0" smtClean="0"/>
              <a:t>Promise</a:t>
            </a:r>
            <a:r>
              <a:rPr lang="ru-RU" sz="1800" dirty="0" smtClean="0"/>
              <a:t>, так что </a:t>
            </a:r>
            <a:r>
              <a:rPr lang="en-US" sz="1800" dirty="0" smtClean="0"/>
              <a:t>success()</a:t>
            </a:r>
            <a:r>
              <a:rPr lang="ru-RU" sz="1800" dirty="0" smtClean="0"/>
              <a:t> вернет </a:t>
            </a:r>
            <a:r>
              <a:rPr lang="en-US" sz="1800" dirty="0" smtClean="0"/>
              <a:t>data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778561" y="3083442"/>
            <a:ext cx="2682882" cy="46783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1696452" y="355127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492680" y="4162530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Куда нам нужно положить </a:t>
            </a:r>
            <a:r>
              <a:rPr lang="en-US" sz="1800" dirty="0" smtClean="0"/>
              <a:t>data</a:t>
            </a:r>
            <a:r>
              <a:rPr lang="ru-RU" sz="1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724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oring the Data for use in our Pag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709906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290964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374696" y="2284782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244864" y="2271071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ужна внутренняя переменная с ссылкой на сам контроллер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1023162" y="3120831"/>
            <a:ext cx="1790922" cy="20754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2343878" y="339411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2129523" y="4015090"/>
            <a:ext cx="424292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еперь мы можем положить </a:t>
            </a:r>
            <a:r>
              <a:rPr lang="en-US" sz="1800" dirty="0" smtClean="0"/>
              <a:t>data</a:t>
            </a:r>
            <a:r>
              <a:rPr lang="ru-RU" sz="1800" dirty="0" smtClean="0"/>
              <a:t> в контроллер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1177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itialize Products to be a Blank Arra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004810"/>
              </p:ext>
            </p:extLst>
          </p:nvPr>
        </p:nvGraphicFramePr>
        <p:xfrm>
          <a:off x="303182" y="1345973"/>
          <a:ext cx="8229600" cy="322783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 ]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596558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289635" y="242385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010948" y="2449732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ам нужно проинициализировать </a:t>
            </a:r>
            <a:r>
              <a:rPr lang="en-US" sz="1800" dirty="0" smtClean="0"/>
              <a:t>products</a:t>
            </a:r>
            <a:r>
              <a:rPr lang="ru-RU" sz="1800" dirty="0" smtClean="0"/>
              <a:t> как пустой массив, 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6696628" y="3011652"/>
            <a:ext cx="2120254" cy="145769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ак как страница будет нарисована раньше чем мы получим данные из </a:t>
            </a:r>
            <a:r>
              <a:rPr lang="en-US" sz="1800" dirty="0" smtClean="0"/>
              <a:t>GET</a:t>
            </a:r>
            <a:r>
              <a:rPr lang="ru-RU" sz="1800" dirty="0" smtClean="0"/>
              <a:t> запрос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42184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</p:bld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rvic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40829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itional $http functionalit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 дополнение к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get()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запросам,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ожет делать </a:t>
            </a:r>
            <a:r>
              <a:rPr lang="en-US" sz="2000" dirty="0">
                <a:solidFill>
                  <a:srgbClr val="4B4B4B"/>
                </a:solidFill>
                <a:latin typeface="Arial Narrow" pitchFamily="34" charset="0"/>
              </a:rPr>
              <a:t>post(), put(), delete()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280815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pos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ra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value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275112"/>
              </p:ext>
            </p:extLst>
          </p:nvPr>
        </p:nvGraphicFramePr>
        <p:xfrm>
          <a:off x="403642" y="26696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dele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8960" y="3489451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ли любой другой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етод, используя объект </a:t>
            </a:r>
            <a:r>
              <a:rPr lang="en-US" sz="2000" dirty="0" err="1" smtClean="0">
                <a:solidFill>
                  <a:srgbClr val="4B4B4B"/>
                </a:solidFill>
                <a:latin typeface="Arial Narrow" pitchFamily="34" charset="0"/>
              </a:rPr>
              <a:t>config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041985"/>
              </p:ext>
            </p:extLst>
          </p:nvPr>
        </p:nvGraphicFramePr>
        <p:xfrm>
          <a:off x="403642" y="41582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OPTIONS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618724"/>
              </p:ext>
            </p:extLst>
          </p:nvPr>
        </p:nvGraphicFramePr>
        <p:xfrm>
          <a:off x="403642" y="46508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PATCH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240460"/>
              </p:ext>
            </p:extLst>
          </p:nvPr>
        </p:nvGraphicFramePr>
        <p:xfrm>
          <a:off x="403642" y="512398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TRACE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5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</a:t>
            </a:r>
            <a:r>
              <a:rPr lang="en-US" b="1" dirty="0" smtClean="0"/>
              <a:t>Bonu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07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full environment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9515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1447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Рассмотрим стандартное боевое окружение на примере проекта </a:t>
            </a:r>
            <a:r>
              <a:rPr lang="en-US" sz="2000" b="1" dirty="0" smtClean="0"/>
              <a:t>angular-seed</a:t>
            </a:r>
            <a:r>
              <a:rPr lang="en-US" sz="2000" dirty="0" smtClean="0">
                <a:latin typeface="Arial Narrow" pitchFamily="34" charset="0"/>
              </a:rPr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т проект можно скачать тут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github.com/angular/angular-seed.git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  <p:sp>
        <p:nvSpPr>
          <p:cNvPr id="13" name="Rectangle 12"/>
          <p:cNvSpPr/>
          <p:nvPr/>
        </p:nvSpPr>
        <p:spPr>
          <a:xfrm>
            <a:off x="198959" y="3037726"/>
            <a:ext cx="347990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400" dirty="0">
                <a:latin typeface="Arial Narrow" pitchFamily="34" charset="0"/>
              </a:rPr>
              <a:t>Или же его можно просто </a:t>
            </a:r>
            <a:r>
              <a:rPr lang="ru-RU" sz="2400" dirty="0" smtClean="0">
                <a:latin typeface="Arial Narrow" pitchFamily="34" charset="0"/>
              </a:rPr>
              <a:t>запустить</a:t>
            </a:r>
            <a:r>
              <a:rPr lang="en-US" sz="2400" dirty="0" smtClean="0">
                <a:latin typeface="Arial Narrow" pitchFamily="34" charset="0"/>
              </a:rPr>
              <a:t> </a:t>
            </a:r>
            <a:r>
              <a:rPr lang="ru-RU" sz="2400" dirty="0" smtClean="0">
                <a:latin typeface="Arial Narrow" pitchFamily="34" charset="0"/>
              </a:rPr>
              <a:t>из </a:t>
            </a:r>
            <a:r>
              <a:rPr lang="ru-RU" sz="2400" dirty="0">
                <a:latin typeface="Arial Narrow" pitchFamily="34" charset="0"/>
              </a:rPr>
              <a:t>готового шаблона в </a:t>
            </a:r>
            <a:r>
              <a:rPr lang="en-US" sz="2400" dirty="0">
                <a:latin typeface="Arial Narrow" pitchFamily="34" charset="0"/>
              </a:rPr>
              <a:t>IDEA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864" y="2725591"/>
            <a:ext cx="4785343" cy="350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48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Рассмотрим структуру полученного проекта</a:t>
            </a:r>
            <a:endParaRPr lang="en-US" sz="2000" b="1" dirty="0"/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98960" y="341147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видите, на первый взгляд она достаточно сложна.</a:t>
            </a:r>
            <a:endParaRPr lang="en-US" sz="2000" b="1" dirty="0"/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98960" y="488388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опробуем разобраться, что же из себя представляет данный проект.</a:t>
            </a:r>
            <a:endParaRPr lang="en-US" sz="2000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1855" y="800078"/>
            <a:ext cx="2510206" cy="553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73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179665"/>
              </p:ext>
            </p:extLst>
          </p:nvPr>
        </p:nvGraphicFramePr>
        <p:xfrm>
          <a:off x="326551" y="1394867"/>
          <a:ext cx="8287354" cy="3333778"/>
        </p:xfrm>
        <a:graphic>
          <a:graphicData uri="http://schemas.openxmlformats.org/drawingml/2006/table">
            <a:tbl>
              <a:tblPr/>
              <a:tblGrid>
                <a:gridCol w="8287354"/>
              </a:tblGrid>
              <a:tr h="3091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4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1642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487589" y="437298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6567709" y="1574887"/>
            <a:ext cx="164665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Twitter Bootstra</a:t>
            </a:r>
            <a:r>
              <a:rPr lang="en-US" sz="2000" dirty="0" smtClean="0">
                <a:latin typeface="Tele-GroteskNor" pitchFamily="2" charset="0"/>
              </a:rPr>
              <a:t>p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919637" y="355853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7283023" y="1934927"/>
            <a:ext cx="216024" cy="511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11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Начнем с файла </a:t>
            </a:r>
            <a:r>
              <a:rPr lang="en-US" sz="2000" b="1" dirty="0" err="1" smtClean="0"/>
              <a:t>package.json</a:t>
            </a:r>
            <a:endParaRPr lang="en-US" sz="2000" b="1" dirty="0"/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296085" y="3680838"/>
            <a:ext cx="8323375" cy="2294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Файл </a:t>
            </a:r>
            <a:r>
              <a:rPr lang="ru-RU" sz="2000" b="1" dirty="0" err="1"/>
              <a:t>package.json</a:t>
            </a:r>
            <a:r>
              <a:rPr lang="ru-RU" sz="2000" b="1" dirty="0"/>
              <a:t> содержит в себе информацию о вашем приложении: название, версия, зависимости и тому подобное.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Любая </a:t>
            </a:r>
            <a:r>
              <a:rPr lang="ru-RU" sz="2000" b="1" dirty="0"/>
              <a:t>директория, в которой есть этот файл, интерпретируется как Node.js-пакет, даже если вы не собираетесь публиковать его.</a:t>
            </a:r>
            <a:endParaRPr lang="en-US" sz="2000" b="1" dirty="0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574" y="1090491"/>
            <a:ext cx="2482370" cy="215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9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de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9" y="1387749"/>
            <a:ext cx="5046435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рассматривать файл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, разберемся что такое </a:t>
            </a:r>
            <a:r>
              <a:rPr lang="en-US" sz="2000" b="1" dirty="0" smtClean="0"/>
              <a:t>node.js.</a:t>
            </a:r>
            <a:endParaRPr lang="en-US" sz="2000" b="1" dirty="0"/>
          </a:p>
        </p:txBody>
      </p:sp>
      <p:pic>
        <p:nvPicPr>
          <p:cNvPr id="9220" name="Picture 4" descr="nodejs-logo.png (424×27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023" y="1267008"/>
            <a:ext cx="4038600" cy="260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/>
          <p:cNvSpPr>
            <a:spLocks/>
          </p:cNvSpPr>
          <p:nvPr/>
        </p:nvSpPr>
        <p:spPr bwMode="gray">
          <a:xfrm>
            <a:off x="198958" y="2883396"/>
            <a:ext cx="5046435" cy="2142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Сам по себе Node.js является C++ приложением, которое получает на входе </a:t>
            </a:r>
            <a:r>
              <a:rPr lang="ru-RU" sz="2000" b="1" dirty="0" err="1"/>
              <a:t>JavaScript</a:t>
            </a:r>
            <a:r>
              <a:rPr lang="ru-RU" sz="2000" b="1" dirty="0"/>
              <a:t>-код и выполняет его</a:t>
            </a:r>
            <a:r>
              <a:rPr lang="ru-RU" sz="2000" b="1" dirty="0" smtClean="0"/>
              <a:t>.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Node.js делает возможным написание серверных приложений на </a:t>
            </a:r>
            <a:r>
              <a:rPr lang="ru-RU" sz="2000" b="1" dirty="0" err="1"/>
              <a:t>JavaScript</a:t>
            </a:r>
            <a:r>
              <a:rPr lang="ru-RU" sz="2000" b="1" dirty="0"/>
              <a:t>. Он построен на движке </a:t>
            </a:r>
            <a:r>
              <a:rPr lang="ru-RU" sz="2000" b="1" dirty="0" err="1"/>
              <a:t>JavaScript</a:t>
            </a:r>
            <a:r>
              <a:rPr lang="ru-RU" sz="2000" b="1" dirty="0"/>
              <a:t> V8 и написан на C</a:t>
            </a:r>
            <a:r>
              <a:rPr lang="ru-RU" sz="2000" b="1" dirty="0" smtClean="0"/>
              <a:t>++</a:t>
            </a:r>
            <a:r>
              <a:rPr lang="en-US" sz="2000" b="1" dirty="0" smtClean="0"/>
              <a:t>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9207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3099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кратце, пакетом в Node.js называется один или несколько </a:t>
            </a:r>
            <a:r>
              <a:rPr lang="ru-RU" sz="2000" b="1" dirty="0" err="1"/>
              <a:t>JavaScript</a:t>
            </a:r>
            <a:r>
              <a:rPr lang="ru-RU" sz="2000" b="1" dirty="0"/>
              <a:t>-файлов, представляющих собой какую-то библиотеку или инструмен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err="1" smtClean="0"/>
              <a:t>npm</a:t>
            </a:r>
            <a:r>
              <a:rPr lang="ru-RU" sz="2000" b="1" dirty="0" smtClean="0"/>
              <a:t> </a:t>
            </a:r>
            <a:r>
              <a:rPr lang="ru-RU" sz="2000" b="1" dirty="0"/>
              <a:t>(</a:t>
            </a:r>
            <a:r>
              <a:rPr lang="ru-RU" sz="2000" b="1" dirty="0" err="1"/>
              <a:t>аббр</a:t>
            </a:r>
            <a:r>
              <a:rPr lang="ru-RU" sz="2000" b="1" dirty="0"/>
              <a:t>. </a:t>
            </a:r>
            <a:r>
              <a:rPr lang="ru-RU" sz="2000" b="1" dirty="0" err="1"/>
              <a:t>node</a:t>
            </a:r>
            <a:r>
              <a:rPr lang="ru-RU" sz="2000" b="1" dirty="0"/>
              <a:t> </a:t>
            </a:r>
            <a:r>
              <a:rPr lang="ru-RU" sz="2000" b="1" dirty="0" err="1"/>
              <a:t>package</a:t>
            </a:r>
            <a:r>
              <a:rPr lang="ru-RU" sz="2000" b="1" dirty="0"/>
              <a:t> </a:t>
            </a:r>
            <a:r>
              <a:rPr lang="ru-RU" sz="2000" b="1" dirty="0" err="1"/>
              <a:t>manager</a:t>
            </a:r>
            <a:r>
              <a:rPr lang="ru-RU" sz="2000" b="1" dirty="0"/>
              <a:t>) — это стандартный менеджер пакетов, автоматически устанавливающийся вместе с Node.js. Он используется для скачивания пакетов из облачного сервера </a:t>
            </a:r>
            <a:r>
              <a:rPr lang="ru-RU" sz="2000" b="1" dirty="0" err="1"/>
              <a:t>npm</a:t>
            </a:r>
            <a:r>
              <a:rPr lang="ru-RU" sz="2000" b="1" dirty="0"/>
              <a:t>, либо для загрузки пакетов на эти сервера</a:t>
            </a:r>
            <a:r>
              <a:rPr lang="ru-RU" sz="2000" b="1" dirty="0" smtClean="0"/>
              <a:t>.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С помощью </a:t>
            </a:r>
            <a:r>
              <a:rPr lang="en-US" sz="2000" b="1" dirty="0" err="1" smtClean="0"/>
              <a:t>npm</a:t>
            </a:r>
            <a:r>
              <a:rPr lang="en-US" sz="2000" b="1" dirty="0" smtClean="0"/>
              <a:t> </a:t>
            </a:r>
            <a:r>
              <a:rPr lang="ru-RU" sz="2000" b="1" dirty="0" smtClean="0"/>
              <a:t>мы управляем пакетами, необходимыми в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для нашего проекта.</a:t>
            </a:r>
          </a:p>
        </p:txBody>
      </p:sp>
      <p:pic>
        <p:nvPicPr>
          <p:cNvPr id="10242" name="Picture 2" descr="NPM.jpg (548×26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414" y="4291317"/>
            <a:ext cx="3834368" cy="184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4291317"/>
            <a:ext cx="3370040" cy="209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Например, мы хотим использовать </a:t>
            </a:r>
            <a:r>
              <a:rPr lang="en-US" sz="2000" b="1" dirty="0" smtClean="0"/>
              <a:t>http-server</a:t>
            </a:r>
            <a:r>
              <a:rPr lang="ru-RU" sz="2000" b="1" dirty="0" smtClean="0"/>
              <a:t> для разворачивания на нем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этого надо сделать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/>
              <a:t>npm</a:t>
            </a:r>
            <a:r>
              <a:rPr lang="en-US" sz="2000" b="1" dirty="0"/>
              <a:t> install http-server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3134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 and </a:t>
            </a:r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того, чтобы не устанавливать вручную все зависимости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в нашем проекте используется файл </a:t>
            </a:r>
            <a:r>
              <a:rPr lang="en-US" sz="2000" b="1" dirty="0" err="1" smtClean="0"/>
              <a:t>package.json</a:t>
            </a:r>
            <a:r>
              <a:rPr lang="en-US" sz="2000" b="1" dirty="0" smtClean="0"/>
              <a:t>.</a:t>
            </a:r>
            <a:endParaRPr lang="ru-RU" sz="2000" b="1" dirty="0" smtClean="0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907" y="1905553"/>
            <a:ext cx="3952875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751162"/>
            <a:ext cx="4146218" cy="291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выполнения этого файла достаточно перейти в директорию с этим файлом и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58616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им образом(должен быть установлен плагин </a:t>
            </a:r>
            <a:r>
              <a:rPr lang="en-US" sz="2000" b="1" dirty="0" err="1" smtClean="0"/>
              <a:t>NodeJS</a:t>
            </a:r>
            <a:r>
              <a:rPr lang="ru-RU" sz="2000" b="1" dirty="0" smtClean="0"/>
              <a:t>)</a:t>
            </a:r>
          </a:p>
        </p:txBody>
      </p:sp>
      <p:pic>
        <p:nvPicPr>
          <p:cNvPr id="12293" name="Picture 5" descr="C:\Users\bFinkels\Pictures\Angular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138" y="1318260"/>
            <a:ext cx="2734665" cy="477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64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ывод консоли должен быть следующим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1" y="1573282"/>
            <a:ext cx="8321306" cy="4265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756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46" y="1154201"/>
            <a:ext cx="3796361" cy="4436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73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могли заметить в выводе консоли были такие строчки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55" y="1633083"/>
            <a:ext cx="795337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198954" y="318925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Хотя запускали мы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, который должен был установить пакеты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, а </a:t>
            </a:r>
            <a:r>
              <a:rPr lang="ru-RU" sz="2000" b="1" dirty="0" err="1" smtClean="0"/>
              <a:t>ангуляр</a:t>
            </a:r>
            <a:r>
              <a:rPr lang="ru-RU" sz="2000" b="1" dirty="0" smtClean="0"/>
              <a:t> это явно не пакет для </a:t>
            </a:r>
            <a:r>
              <a:rPr lang="en-US" sz="2000" b="1" dirty="0" smtClean="0"/>
              <a:t>node.js</a:t>
            </a:r>
            <a:r>
              <a:rPr lang="ru-RU" sz="2000" b="1" dirty="0"/>
              <a:t>.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142271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6" y="1040418"/>
            <a:ext cx="3719082" cy="379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оизошло это из-за того,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что в нашем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 было написано следующе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секции </a:t>
            </a:r>
            <a:r>
              <a:rPr lang="en-US" sz="2000" b="1" dirty="0" err="1" smtClean="0"/>
              <a:t>skripts</a:t>
            </a:r>
            <a:r>
              <a:rPr lang="ru-RU" sz="2000" b="1" dirty="0" smtClean="0"/>
              <a:t> есть пункт </a:t>
            </a:r>
            <a:r>
              <a:rPr lang="en-US" sz="2000" b="1" dirty="0" err="1" smtClean="0"/>
              <a:t>postinstall</a:t>
            </a:r>
            <a:r>
              <a:rPr lang="ru-RU" sz="2000" b="1" dirty="0" smtClean="0"/>
              <a:t> и в нем мы выполняем </a:t>
            </a:r>
            <a:r>
              <a:rPr lang="en-US" sz="2000" b="1" dirty="0" smtClean="0"/>
              <a:t>bower install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идти дальше, посмотрим, что такое </a:t>
            </a:r>
            <a:r>
              <a:rPr lang="en-US" sz="2000" b="1" dirty="0" smtClean="0"/>
              <a:t>bower.</a:t>
            </a:r>
            <a:endParaRPr lang="ru-RU" sz="2000" b="1" dirty="0" smtClean="0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038" y="902970"/>
            <a:ext cx="4905375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0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15362" name="Picture 2" descr="https://hsto.org/files/1fb/08e/0a3/1fb08e0a34354419ab9b8ebbdecf5b1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155" y="1311592"/>
            <a:ext cx="5753100" cy="377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765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1" y="888068"/>
            <a:ext cx="6480398" cy="271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ишем в них части нашего приложения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Делают наш код более поддерживаемым, тестируемым и читабельным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В них мы определяем зависимости для нашего приложения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Модули могут использовать другие модули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32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7276265" cy="5139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 – </a:t>
            </a:r>
            <a:r>
              <a:rPr lang="ru-RU" sz="2000" b="1" dirty="0" smtClean="0"/>
              <a:t>это менеджер пакетов для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сё, что делает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устанавливает нужные проекту пакеты подходящих версий вместе с их зависимостями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Он загружает </a:t>
            </a:r>
            <a:r>
              <a:rPr lang="ru-RU" sz="2000" b="1" dirty="0"/>
              <a:t>файлы нужных библиотек и всё, что нужно для их работы в специальную папку. Остальное остаётся на усмотрение разработчика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Главное </a:t>
            </a:r>
            <a:r>
              <a:rPr lang="ru-RU" sz="2000" b="1" dirty="0"/>
              <a:t>отличие </a:t>
            </a:r>
            <a:r>
              <a:rPr lang="ru-RU" sz="2000" b="1" dirty="0" err="1"/>
              <a:t>npm</a:t>
            </a:r>
            <a:r>
              <a:rPr lang="ru-RU" sz="2000" b="1" dirty="0"/>
              <a:t> и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подход к установке зависимостей пакетов. </a:t>
            </a:r>
            <a:r>
              <a:rPr lang="ru-RU" sz="2000" b="1" dirty="0" err="1"/>
              <a:t>npm</a:t>
            </a:r>
            <a:r>
              <a:rPr lang="ru-RU" sz="2000" b="1" dirty="0"/>
              <a:t> устанавливает зависимости для каждого пакета отдельно, в итоге получается большое дерево пакетов (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runt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lob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…), где может быть несколько версий одного и того же пакета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ru-RU" sz="2000" b="1" dirty="0" err="1"/>
              <a:t>Бовере</a:t>
            </a:r>
            <a:r>
              <a:rPr lang="ru-RU" sz="2000" b="1" dirty="0"/>
              <a:t> каждый пакет устанавливается один раз (</a:t>
            </a:r>
            <a:r>
              <a:rPr lang="ru-RU" sz="2000" b="1" dirty="0" err="1"/>
              <a:t>jQuery</a:t>
            </a:r>
            <a:r>
              <a:rPr lang="ru-RU" sz="2000" b="1" dirty="0"/>
              <a:t> всегда будет в папке </a:t>
            </a:r>
            <a:r>
              <a:rPr lang="ru-RU" sz="2000" b="1" dirty="0" err="1"/>
              <a:t>bower_components</a:t>
            </a:r>
            <a:r>
              <a:rPr lang="ru-RU" sz="2000" b="1" dirty="0"/>
              <a:t>/</a:t>
            </a:r>
            <a:r>
              <a:rPr lang="ru-RU" sz="2000" b="1" dirty="0" err="1"/>
              <a:t>jquery</a:t>
            </a:r>
            <a:r>
              <a:rPr lang="ru-RU" sz="2000" b="1" dirty="0"/>
              <a:t>, сколько бы пакетов от него не зависело) и в случае конфликта зависимостей, </a:t>
            </a:r>
            <a:r>
              <a:rPr lang="ru-RU" sz="2000" b="1" dirty="0" err="1"/>
              <a:t>Бовер</a:t>
            </a:r>
            <a:r>
              <a:rPr lang="ru-RU" sz="2000" b="1" dirty="0"/>
              <a:t> просто не станет устанавливать пакет, не совместимый с уже установленными</a:t>
            </a:r>
            <a:r>
              <a:rPr lang="ru-RU" sz="2000" b="1" dirty="0" smtClean="0"/>
              <a:t>.</a:t>
            </a:r>
          </a:p>
        </p:txBody>
      </p:sp>
      <p:pic>
        <p:nvPicPr>
          <p:cNvPr id="17412" name="Picture 4" descr="Картинки по запросу bow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457" y="0"/>
            <a:ext cx="2435749" cy="182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89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 and </a:t>
            </a:r>
            <a:r>
              <a:rPr lang="en-US" dirty="0" err="1" smtClean="0"/>
              <a:t>Bower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5778935" cy="1268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</a:t>
            </a:r>
            <a:r>
              <a:rPr lang="ru-RU" sz="2000" b="1" dirty="0" smtClean="0"/>
              <a:t> складывает все наши зависимости на </a:t>
            </a:r>
            <a:r>
              <a:rPr lang="ru-RU" sz="2000" b="1" dirty="0" err="1" smtClean="0"/>
              <a:t>фронтенде</a:t>
            </a:r>
            <a:r>
              <a:rPr lang="ru-RU" sz="2000" b="1" dirty="0" smtClean="0"/>
              <a:t> в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п</a:t>
            </a:r>
            <a:r>
              <a:rPr lang="ru-RU" sz="2000" b="1" dirty="0" smtClean="0"/>
              <a:t>апку </a:t>
            </a:r>
            <a:r>
              <a:rPr lang="en-US" sz="2000" b="1" dirty="0" err="1" smtClean="0"/>
              <a:t>bower_components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</a:t>
            </a:r>
            <a:r>
              <a:rPr lang="en-US" sz="2000" b="1" dirty="0" smtClean="0"/>
              <a:t>bower </a:t>
            </a:r>
            <a:r>
              <a:rPr lang="ru-RU" sz="2000" b="1" dirty="0" smtClean="0"/>
              <a:t>как и для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 существует файл со списком зависимостей – </a:t>
            </a:r>
            <a:r>
              <a:rPr lang="en-US" sz="2000" b="1" dirty="0" err="1" smtClean="0"/>
              <a:t>bower.json</a:t>
            </a:r>
            <a:endParaRPr lang="ru-RU" sz="2000" b="1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890" y="1040418"/>
            <a:ext cx="2705100" cy="42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2867313"/>
            <a:ext cx="4000500" cy="24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07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Applic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720005" cy="4156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того на данный  момент мы запустили в корне нашего проекта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результате этого в структуре нашего проекта появилось две новых директории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bower_components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ode_modules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запуска приложения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start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ли же 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510" y="3726180"/>
            <a:ext cx="3772140" cy="2517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035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Теперь нам бы хотелось протестировать наш проект с помощью тесто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данном проекте есть фалы тестов лежат около самих </a:t>
            </a:r>
            <a:r>
              <a:rPr lang="en-US" sz="2000" b="1" dirty="0" err="1" smtClean="0"/>
              <a:t>js</a:t>
            </a:r>
            <a:r>
              <a:rPr lang="ru-RU" sz="2000" b="1" dirty="0" smtClean="0"/>
              <a:t> файлов, которые они тестируют, т.к. тут используется </a:t>
            </a:r>
            <a:r>
              <a:rPr lang="en-US" sz="2000" b="1" dirty="0"/>
              <a:t>package by </a:t>
            </a:r>
            <a:r>
              <a:rPr lang="en-US" sz="2000" b="1" dirty="0" smtClean="0"/>
              <a:t>feature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70" y="1691639"/>
            <a:ext cx="2084070" cy="2253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2305862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анные тесты написаны с использованием </a:t>
            </a:r>
            <a:r>
              <a:rPr lang="ru-RU" sz="2000" b="1" dirty="0" err="1" smtClean="0"/>
              <a:t>фрейворка</a:t>
            </a:r>
            <a:r>
              <a:rPr lang="ru-RU" sz="2000" b="1" dirty="0" smtClean="0"/>
              <a:t>  </a:t>
            </a:r>
            <a:r>
              <a:rPr lang="en-US" sz="2000" b="1" dirty="0" smtClean="0"/>
              <a:t>Jasmine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/>
              <a:t>Jasmine </a:t>
            </a:r>
            <a:r>
              <a:rPr lang="ru-RU" sz="2000" b="1" dirty="0"/>
              <a:t>это </a:t>
            </a:r>
            <a:r>
              <a:rPr lang="en-US" sz="2000" b="1" dirty="0"/>
              <a:t>BDD </a:t>
            </a:r>
            <a:r>
              <a:rPr lang="ru-RU" sz="2000" b="1" dirty="0" err="1"/>
              <a:t>фреймворк</a:t>
            </a:r>
            <a:r>
              <a:rPr lang="ru-RU" sz="2000" b="1" dirty="0"/>
              <a:t> (</a:t>
            </a:r>
            <a:r>
              <a:rPr lang="en-US" sz="2000" b="1" dirty="0"/>
              <a:t>Behavior-Driven Development — </a:t>
            </a:r>
            <a:r>
              <a:rPr lang="ru-RU" sz="2000" b="1" dirty="0"/>
              <a:t>Разработка на Основе Поведений) для тестирования </a:t>
            </a:r>
            <a:r>
              <a:rPr lang="en-US" sz="2000" b="1" dirty="0"/>
              <a:t>JavaScript </a:t>
            </a:r>
            <a:r>
              <a:rPr lang="ru-RU" sz="2000" b="1" dirty="0" smtClean="0"/>
              <a:t>кода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64938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asmin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5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Основными ключевыми словами при работе с </a:t>
            </a:r>
            <a:r>
              <a:rPr lang="ru-RU" sz="2000" dirty="0" err="1"/>
              <a:t>Jasmine</a:t>
            </a:r>
            <a:r>
              <a:rPr lang="ru-RU" sz="2000" dirty="0"/>
              <a:t> являются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describe</a:t>
            </a:r>
            <a:r>
              <a:rPr lang="ru-RU" sz="2000" dirty="0"/>
              <a:t> — определение набора тестов, наборы могут быть вложенным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it</a:t>
            </a:r>
            <a:r>
              <a:rPr lang="ru-RU" sz="2000" dirty="0"/>
              <a:t> — определение теста внутри любого набора тест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expect</a:t>
            </a:r>
            <a:r>
              <a:rPr lang="ru-RU" sz="2000" dirty="0"/>
              <a:t> — определяет ожидания, которые проверяются в тест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648579"/>
              </p:ext>
            </p:extLst>
          </p:nvPr>
        </p:nvGraphicFramePr>
        <p:xfrm>
          <a:off x="182662" y="3510511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Набор тестов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проверка ожиданий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xpec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 + 2).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1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6333003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Karma </a:t>
            </a:r>
            <a:r>
              <a:rPr lang="ru-RU" sz="2000" dirty="0" smtClean="0"/>
              <a:t>это утилита для запуска тестов. Она умеет: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Запускать тесты из консол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Автоматически прогонять все тесты при каждом </a:t>
            </a:r>
            <a:r>
              <a:rPr lang="ru-RU" sz="2000" dirty="0" smtClean="0"/>
              <a:t>сохранении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Возможность писать тесты на множестве </a:t>
            </a:r>
            <a:r>
              <a:rPr lang="ru-RU" sz="2000" dirty="0" err="1" smtClean="0"/>
              <a:t>фреймворков</a:t>
            </a:r>
            <a:r>
              <a:rPr lang="ru-RU" sz="2000" dirty="0" smtClean="0"/>
              <a:t>, таких как </a:t>
            </a:r>
            <a:r>
              <a:rPr lang="ru-RU" sz="2000" dirty="0" err="1" smtClean="0"/>
              <a:t>jasmine</a:t>
            </a:r>
            <a:r>
              <a:rPr lang="ru-RU" sz="2000" dirty="0" smtClean="0"/>
              <a:t>, </a:t>
            </a:r>
            <a:r>
              <a:rPr lang="en-US" sz="2000" dirty="0" smtClean="0"/>
              <a:t>mocha</a:t>
            </a:r>
            <a:r>
              <a:rPr lang="ru-RU" sz="2000" dirty="0" smtClean="0"/>
              <a:t>, </a:t>
            </a:r>
            <a:r>
              <a:rPr lang="ru-RU" sz="2000" dirty="0" err="1" smtClean="0"/>
              <a:t>qunit</a:t>
            </a:r>
            <a:r>
              <a:rPr lang="ru-RU" sz="2000" dirty="0" smtClean="0"/>
              <a:t> и др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рогонять </a:t>
            </a:r>
            <a:r>
              <a:rPr lang="ru-RU" sz="2000" dirty="0"/>
              <a:t>тесты сразу на нескольких браузерах. (в том числе виртуальных, например </a:t>
            </a:r>
            <a:r>
              <a:rPr lang="ru-RU" sz="2000" dirty="0" err="1"/>
              <a:t>fantomjs</a:t>
            </a:r>
            <a:r>
              <a:rPr lang="ru-RU" sz="2000" dirty="0"/>
              <a:t>).</a:t>
            </a:r>
          </a:p>
        </p:txBody>
      </p:sp>
      <p:pic>
        <p:nvPicPr>
          <p:cNvPr id="21506" name="Picture 2" descr="banner.png (288×67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953" y="826868"/>
            <a:ext cx="3472021" cy="807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6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5022364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настройки </a:t>
            </a:r>
            <a:r>
              <a:rPr lang="en-US" sz="2000" dirty="0" smtClean="0"/>
              <a:t>Karma </a:t>
            </a:r>
            <a:r>
              <a:rPr lang="ru-RU" sz="2000" dirty="0" smtClean="0"/>
              <a:t>у нас есть файл </a:t>
            </a:r>
            <a:r>
              <a:rPr lang="en-US" sz="2000" dirty="0" smtClean="0"/>
              <a:t>karma.conf.js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запуска тестов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</a:t>
            </a:r>
            <a:r>
              <a:rPr lang="en-US" sz="2000" dirty="0" smtClean="0"/>
              <a:t>tes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запустит </a:t>
            </a:r>
            <a:r>
              <a:rPr lang="en-US" sz="2000" dirty="0" smtClean="0"/>
              <a:t>Karma</a:t>
            </a:r>
            <a:r>
              <a:rPr lang="ru-RU" sz="2000" dirty="0" smtClean="0"/>
              <a:t> для выполнения тестов, </a:t>
            </a:r>
            <a:r>
              <a:rPr lang="en-US" sz="2000" dirty="0" smtClean="0"/>
              <a:t>Karma </a:t>
            </a:r>
            <a:r>
              <a:rPr lang="ru-RU" sz="2000" dirty="0" smtClean="0"/>
              <a:t>начнет отслеживать исходный для код для перезапуска тестов при изменени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жно запустить как единичный тест, который выполнится один раз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680" y="784434"/>
            <a:ext cx="3763733" cy="5368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59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-to-End </a:t>
            </a:r>
            <a:r>
              <a:rPr lang="en-US" dirty="0"/>
              <a:t>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данном приложении присутствуют </a:t>
            </a:r>
            <a:r>
              <a:rPr lang="en-US" sz="2000" dirty="0" smtClean="0"/>
              <a:t>end-to-end</a:t>
            </a:r>
            <a:r>
              <a:rPr lang="ru-RU" sz="2000" dirty="0" smtClean="0"/>
              <a:t> тесты. Они написаны на </a:t>
            </a:r>
            <a:r>
              <a:rPr lang="en-US" sz="2000" dirty="0" smtClean="0"/>
              <a:t>Jasmine</a:t>
            </a:r>
            <a:r>
              <a:rPr lang="ru-RU" sz="2000" dirty="0" smtClean="0"/>
              <a:t>, но запускаются с помощью </a:t>
            </a:r>
            <a:r>
              <a:rPr lang="en-US" sz="2000" dirty="0" smtClean="0"/>
              <a:t>Protractor.</a:t>
            </a: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378" y="1552718"/>
            <a:ext cx="2116451" cy="649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000538"/>
            <a:ext cx="4319706" cy="1710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Файл </a:t>
            </a:r>
            <a:r>
              <a:rPr lang="en-US" sz="2000" dirty="0" smtClean="0"/>
              <a:t>scenarios.js</a:t>
            </a:r>
            <a:r>
              <a:rPr lang="ru-RU" sz="2000" dirty="0" smtClean="0"/>
              <a:t> содержит в себе описание тестов на </a:t>
            </a:r>
            <a:r>
              <a:rPr lang="en-US" sz="2000" dirty="0" smtClean="0"/>
              <a:t>Jasmine</a:t>
            </a:r>
            <a:r>
              <a:rPr lang="ru-RU" sz="2000" dirty="0" smtClean="0"/>
              <a:t>.</a:t>
            </a:r>
            <a:endParaRPr lang="ru-RU" sz="2000" b="1" dirty="0" smtClean="0"/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377" y="2327697"/>
            <a:ext cx="6354830" cy="3852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86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tracto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AutoShape 2" descr="AVXHVl1OTW1LAAAAAElFTkSuQmCC (473×106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AVXHVl1OTW1LAAAAAElFTkSuQmCC (473×106)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6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5610" name="Picture 10" descr="Картинки по запросу protractor j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46" y="746124"/>
            <a:ext cx="5867400" cy="149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/>
          <p:cNvSpPr>
            <a:spLocks/>
          </p:cNvSpPr>
          <p:nvPr/>
        </p:nvSpPr>
        <p:spPr bwMode="gray">
          <a:xfrm>
            <a:off x="90656" y="1615757"/>
            <a:ext cx="6333003" cy="372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Protractor</a:t>
            </a:r>
            <a:r>
              <a:rPr lang="ru-RU" sz="2000" dirty="0"/>
              <a:t>: Инструмент функционального тестирования для </a:t>
            </a:r>
            <a:r>
              <a:rPr lang="ru-RU" sz="2000" dirty="0" err="1"/>
              <a:t>AngularJS</a:t>
            </a:r>
            <a:r>
              <a:rPr lang="ru-RU" sz="2000" dirty="0"/>
              <a:t>, который запускает ваше приложение в браузере и взаимодействует с ним через </a:t>
            </a:r>
            <a:r>
              <a:rPr lang="ru-RU" sz="2000" dirty="0" err="1"/>
              <a:t>Selenium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Конфигурационный файл </a:t>
            </a:r>
            <a:r>
              <a:rPr lang="en-US" sz="2000" dirty="0" smtClean="0"/>
              <a:t>protractor.conf.js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ыглядит следующим образом: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930" y="2689858"/>
            <a:ext cx="2486813" cy="34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55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</a:t>
            </a:r>
            <a:r>
              <a:rPr lang="en-US" dirty="0"/>
              <a:t>End-to-End 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90656" y="994534"/>
            <a:ext cx="8649483" cy="4110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запуском </a:t>
            </a:r>
            <a:r>
              <a:rPr lang="en-US" sz="2000" dirty="0" smtClean="0"/>
              <a:t>Protractor </a:t>
            </a:r>
            <a:r>
              <a:rPr lang="ru-RU" sz="2000" dirty="0" smtClean="0"/>
              <a:t>нужно написать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star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ак как </a:t>
            </a:r>
            <a:r>
              <a:rPr lang="en-US" sz="2000" dirty="0" smtClean="0"/>
              <a:t>Protractor </a:t>
            </a:r>
            <a:r>
              <a:rPr lang="ru-RU" sz="2000" dirty="0" smtClean="0"/>
              <a:t>построен на </a:t>
            </a:r>
            <a:r>
              <a:rPr lang="en-US" sz="2000" dirty="0" smtClean="0"/>
              <a:t>WebDriver</a:t>
            </a:r>
            <a:r>
              <a:rPr lang="ru-RU" sz="2000" dirty="0" smtClean="0"/>
              <a:t> нужно убедиться что он обновлен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этого нужно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</a:t>
            </a:r>
            <a:r>
              <a:rPr lang="en-US" sz="2000" dirty="0" smtClean="0"/>
              <a:t>update-</a:t>
            </a:r>
            <a:r>
              <a:rPr lang="en-US" sz="2000" dirty="0" err="1" smtClean="0"/>
              <a:t>webdriver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еперь, когда наше приложение запущено можно стартовать </a:t>
            </a:r>
            <a:r>
              <a:rPr lang="en-US" sz="2000" dirty="0" smtClean="0"/>
              <a:t>e2e</a:t>
            </a:r>
            <a:r>
              <a:rPr lang="ru-RU" sz="2000" dirty="0" smtClean="0"/>
              <a:t> тесты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protractor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20173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398284"/>
              </p:ext>
            </p:extLst>
          </p:nvPr>
        </p:nvGraphicFramePr>
        <p:xfrm>
          <a:off x="326551" y="1478687"/>
          <a:ext cx="7809092" cy="1432153"/>
        </p:xfrm>
        <a:graphic>
          <a:graphicData uri="http://schemas.openxmlformats.org/drawingml/2006/table">
            <a:tbl>
              <a:tblPr/>
              <a:tblGrid>
                <a:gridCol w="7809092"/>
              </a:tblGrid>
              <a:tr h="4439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409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408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1433749" y="304710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186579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96782" y="3047107"/>
            <a:ext cx="1129321" cy="580013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pplication Nam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370221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413399" y="3047107"/>
            <a:ext cx="142352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ependencie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 rot="10800000">
            <a:off x="4413398" y="2231766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92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файл </a:t>
            </a:r>
            <a:r>
              <a:rPr lang="en-US" sz="2000" dirty="0"/>
              <a:t>.</a:t>
            </a:r>
            <a:r>
              <a:rPr lang="en-US" sz="2000" dirty="0" err="1"/>
              <a:t>jshintrc</a:t>
            </a:r>
            <a:endParaRPr lang="ru-RU" sz="2000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103" y="407670"/>
            <a:ext cx="4248150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38139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го содержание</a:t>
            </a:r>
            <a:endParaRPr lang="ru-RU" sz="2000" dirty="0"/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417" y="2189797"/>
            <a:ext cx="1781175" cy="404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327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7338844" cy="3226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JSHint</a:t>
            </a:r>
            <a:r>
              <a:rPr lang="ru-RU" sz="2000" dirty="0"/>
              <a:t> — это анализатор кода, который укажет вам на ошибки в коде. Он совместим со многими широко используемыми текстовыми редакторами. Так же это хороший способ поддерживать стилистическое единство и целостность кода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встроенная поддержка в </a:t>
            </a:r>
            <a:r>
              <a:rPr lang="en-US" sz="2000" dirty="0" smtClean="0"/>
              <a:t>IDEA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41517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vis CI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8" y="994534"/>
            <a:ext cx="4656602" cy="4415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Travis</a:t>
            </a:r>
            <a:r>
              <a:rPr lang="ru-RU" sz="2000" dirty="0"/>
              <a:t> CI </a:t>
            </a:r>
            <a:r>
              <a:rPr lang="ru-RU" sz="2000" dirty="0" smtClean="0"/>
              <a:t>это сервис непрерывной интеграции, который может </a:t>
            </a:r>
            <a:r>
              <a:rPr lang="ru-RU" sz="2000" dirty="0" err="1" smtClean="0"/>
              <a:t>мониторить</a:t>
            </a:r>
            <a:r>
              <a:rPr lang="ru-RU" sz="2000" dirty="0" smtClean="0"/>
              <a:t> </a:t>
            </a:r>
            <a:r>
              <a:rPr lang="ru-RU" sz="2000" dirty="0" err="1" smtClean="0"/>
              <a:t>GitHub</a:t>
            </a:r>
            <a:r>
              <a:rPr lang="ru-RU" sz="2000" dirty="0" smtClean="0"/>
              <a:t> и по </a:t>
            </a:r>
            <a:r>
              <a:rPr lang="ru-RU" sz="2000" dirty="0" err="1" smtClean="0"/>
              <a:t>комиту</a:t>
            </a:r>
            <a:r>
              <a:rPr lang="ru-RU" sz="2000" dirty="0" smtClean="0"/>
              <a:t> в </a:t>
            </a:r>
            <a:r>
              <a:rPr lang="ru-RU" sz="2000" dirty="0" err="1"/>
              <a:t>репозиторий</a:t>
            </a:r>
            <a:r>
              <a:rPr lang="ru-RU" sz="2000" dirty="0"/>
              <a:t> </a:t>
            </a:r>
            <a:r>
              <a:rPr lang="ru-RU" sz="2000" dirty="0" smtClean="0"/>
              <a:t>выполнять скрипты, </a:t>
            </a:r>
            <a:r>
              <a:rPr lang="ru-RU" sz="2000" dirty="0"/>
              <a:t>такие как </a:t>
            </a:r>
            <a:r>
              <a:rPr lang="ru-RU" sz="2000" dirty="0" smtClean="0"/>
              <a:t>запуск приложения </a:t>
            </a:r>
            <a:r>
              <a:rPr lang="ru-RU" sz="2000" dirty="0"/>
              <a:t>или </a:t>
            </a:r>
            <a:r>
              <a:rPr lang="ru-RU" sz="2000" dirty="0" smtClean="0"/>
              <a:t>запуск </a:t>
            </a:r>
            <a:r>
              <a:rPr lang="ru-RU" sz="2000" dirty="0"/>
              <a:t>тестов. 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ш </a:t>
            </a:r>
            <a:r>
              <a:rPr lang="ru-RU" sz="2000" dirty="0" err="1" smtClean="0"/>
              <a:t>проет</a:t>
            </a:r>
            <a:r>
              <a:rPr lang="ru-RU" sz="2000" dirty="0" smtClean="0"/>
              <a:t> содержит </a:t>
            </a:r>
            <a:r>
              <a:rPr lang="ru-RU" sz="2000" dirty="0"/>
              <a:t>конфигурационный файл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- </a:t>
            </a:r>
            <a:r>
              <a:rPr lang="ru-RU" sz="2000" dirty="0"/>
              <a:t>.</a:t>
            </a:r>
            <a:r>
              <a:rPr lang="ru-RU" sz="2000" dirty="0" err="1"/>
              <a:t>travis.yml</a:t>
            </a:r>
            <a:r>
              <a:rPr lang="ru-RU" sz="2000" dirty="0"/>
              <a:t>, </a:t>
            </a:r>
            <a:r>
              <a:rPr lang="ru-RU" sz="2000" dirty="0" smtClean="0"/>
              <a:t>который настраивает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чтобы он запускал </a:t>
            </a:r>
            <a:r>
              <a:rPr lang="ru-RU" sz="2000" dirty="0"/>
              <a:t>тесты, </a:t>
            </a:r>
            <a:r>
              <a:rPr lang="ru-RU" sz="2000" dirty="0" smtClean="0"/>
              <a:t>при заливке кода на </a:t>
            </a:r>
            <a:r>
              <a:rPr lang="ru-RU" sz="2000" dirty="0" err="1" smtClean="0"/>
              <a:t>GitHub</a:t>
            </a:r>
            <a:r>
              <a:rPr lang="ru-RU" sz="2000" dirty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175" y="85787"/>
            <a:ext cx="43148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776" y="2203414"/>
            <a:ext cx="3837621" cy="40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328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ML5 Boilerplate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4786143" cy="1451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зависимость </a:t>
            </a:r>
            <a:r>
              <a:rPr lang="en-US" sz="2000" dirty="0"/>
              <a:t>HTML5 Boilerplate</a:t>
            </a:r>
            <a:endParaRPr lang="ru-RU" sz="2000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313" y="1478280"/>
            <a:ext cx="42291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90656" y="3067174"/>
            <a:ext cx="7003564" cy="264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HTML5 </a:t>
            </a:r>
            <a:r>
              <a:rPr lang="ru-RU" sz="2000" dirty="0" err="1"/>
              <a:t>Boilerplate</a:t>
            </a:r>
            <a:r>
              <a:rPr lang="ru-RU" sz="2000" dirty="0"/>
              <a:t> — это HTML/CSS/JS шаблон  для быстрого старта при разработке </a:t>
            </a:r>
            <a:r>
              <a:rPr lang="ru-RU" sz="2000" dirty="0" err="1"/>
              <a:t>fron-end’а</a:t>
            </a:r>
            <a:r>
              <a:rPr lang="ru-RU" sz="2000" dirty="0"/>
              <a:t>, который содержит в себе наилучшие готовые образцы, взятые из практики веб-разработки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одержит хаки </a:t>
            </a:r>
            <a:r>
              <a:rPr lang="ru-RU" sz="2000" dirty="0"/>
              <a:t>для кросс-</a:t>
            </a:r>
            <a:r>
              <a:rPr lang="ru-RU" sz="2000" dirty="0" err="1"/>
              <a:t>браузерной</a:t>
            </a:r>
            <a:r>
              <a:rPr lang="ru-RU" sz="2000" dirty="0"/>
              <a:t> совместимости, настройки производительности и даже таких вещей, как кросс-</a:t>
            </a:r>
            <a:r>
              <a:rPr lang="ru-RU" sz="2000" dirty="0" err="1"/>
              <a:t>домменых</a:t>
            </a:r>
            <a:r>
              <a:rPr lang="ru-RU" sz="2000" dirty="0"/>
              <a:t> </a:t>
            </a:r>
            <a:r>
              <a:rPr lang="ru-RU" sz="2000" dirty="0" err="1"/>
              <a:t>Ajax</a:t>
            </a:r>
            <a:r>
              <a:rPr lang="ru-RU" sz="2000" dirty="0"/>
              <a:t> запросов и </a:t>
            </a:r>
            <a:r>
              <a:rPr lang="ru-RU" sz="2000" dirty="0" err="1"/>
              <a:t>Flash</a:t>
            </a:r>
            <a:r>
              <a:rPr lang="ru-RU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3740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</a:t>
            </a:r>
            <a:r>
              <a:rPr lang="en-US" b="1" dirty="0" smtClean="0"/>
              <a:t>Securit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747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est practic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1649854"/>
            <a:ext cx="6988324" cy="2396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Оставаться на последней верси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Не модифицировать свою копию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Избегать использования </a:t>
            </a:r>
            <a:r>
              <a:rPr lang="en-US" sz="2000" dirty="0" smtClean="0"/>
              <a:t>API</a:t>
            </a:r>
            <a:r>
              <a:rPr lang="ru-RU" sz="2000" dirty="0" smtClean="0"/>
              <a:t>, помеченного в документации </a:t>
            </a:r>
            <a:r>
              <a:rPr lang="en-US" sz="2000" dirty="0" smtClean="0"/>
              <a:t>“Security Risk”</a:t>
            </a: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428599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cross-site scripting (XSS)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524996" y="1177414"/>
            <a:ext cx="7811284" cy="284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 позволяет внедрить вредоносный код в веб-страницу. Подобный код, например, затем может похитить данные пользователя или работать от лица пользовател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заблокирова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, необходимо предотвратить попадание вредоносного кода в </a:t>
            </a:r>
            <a:r>
              <a:rPr lang="en-US" sz="2000" dirty="0" smtClean="0"/>
              <a:t>DOM</a:t>
            </a:r>
            <a:r>
              <a:rPr lang="en-US" sz="24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пример можно вставить код в тэг </a:t>
            </a:r>
            <a:r>
              <a:rPr lang="en-US" sz="2000" dirty="0" smtClean="0"/>
              <a:t>&lt;script&gt;</a:t>
            </a:r>
            <a:r>
              <a:rPr lang="ru-RU" sz="2000" dirty="0" smtClean="0"/>
              <a:t>. Но также можно выполнить код внутри многих элементов и свойствах.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60883"/>
              </p:ext>
            </p:extLst>
          </p:nvPr>
        </p:nvGraphicFramePr>
        <p:xfrm>
          <a:off x="400007" y="3944851"/>
          <a:ext cx="7936273" cy="1024890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nerr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...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...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392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у злоумышленника есть доступ к управлению шаблонами и выражениям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, то он может выполня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несколько способов, как управлять шаблонами и выражениями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Создавать шаблоны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 на сервере, содержащем контент, предоставленный пользователем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ередавать выражение, генерируемое на основе ввода пользователя в вызовы следующих методов в скопе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watch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Group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Collection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apply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apply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3928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пользователя в вызовы </a:t>
            </a:r>
            <a:r>
              <a:rPr lang="ru-RU" sz="2000" dirty="0" smtClean="0"/>
              <a:t>следующих сервисов, которые </a:t>
            </a:r>
            <a:r>
              <a:rPr lang="ru-RU" sz="2000" dirty="0" err="1" smtClean="0"/>
              <a:t>парсят</a:t>
            </a:r>
            <a:r>
              <a:rPr lang="ru-RU" sz="2000" dirty="0" smtClean="0"/>
              <a:t> выражения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compil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pars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interpolate(</a:t>
            </a:r>
            <a:r>
              <a:rPr lang="en-US" sz="2000" dirty="0" err="1"/>
              <a:t>userContent</a:t>
            </a:r>
            <a:r>
              <a:rPr lang="en-US" sz="2000" dirty="0" smtClean="0"/>
              <a:t>)</a:t>
            </a:r>
            <a:endParaRPr lang="ru-RU" sz="2000" dirty="0" smtClean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</a:t>
            </a:r>
            <a:r>
              <a:rPr lang="ru-RU" sz="2000" dirty="0" smtClean="0"/>
              <a:t>как предикат в </a:t>
            </a:r>
            <a:r>
              <a:rPr lang="en-US" sz="2000" dirty="0" err="1" smtClean="0"/>
              <a:t>orderBy</a:t>
            </a:r>
            <a:r>
              <a:rPr lang="ru-RU" sz="2000" dirty="0" smtClean="0"/>
              <a:t>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{{ value | </a:t>
            </a:r>
            <a:r>
              <a:rPr lang="en-US" sz="2000" dirty="0" err="1"/>
              <a:t>orderBy</a:t>
            </a:r>
            <a:r>
              <a:rPr lang="en-US" sz="2000" dirty="0"/>
              <a:t> : </a:t>
            </a:r>
            <a:r>
              <a:rPr lang="en-US" sz="2000" dirty="0" err="1"/>
              <a:t>userContent</a:t>
            </a:r>
            <a:r>
              <a:rPr lang="en-US" sz="2000" dirty="0"/>
              <a:t> }}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68172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erver-side XSS protection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HTML</a:t>
            </a:r>
            <a:r>
              <a:rPr lang="ru-RU" sz="2000" dirty="0" smtClean="0"/>
              <a:t> сгенерированный на сервере подвержен для атак инъекций. Вставка такого шаблона в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о же самое, что вставка такого исполняемого кода в приложение – это дает атакующему полный контроль над приложение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этого избежать используйте </a:t>
            </a:r>
            <a:r>
              <a:rPr lang="ru-RU" sz="2000" dirty="0" err="1" smtClean="0"/>
              <a:t>шаблонизатор</a:t>
            </a:r>
            <a:r>
              <a:rPr lang="ru-RU" sz="2000" dirty="0" smtClean="0"/>
              <a:t>, который автоматически экранирует значения для предотвращения </a:t>
            </a:r>
            <a:r>
              <a:rPr lang="en-US" sz="2000" dirty="0" smtClean="0"/>
              <a:t>XSS</a:t>
            </a:r>
            <a:r>
              <a:rPr lang="ru-RU" sz="2000" dirty="0" smtClean="0"/>
              <a:t> атак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40445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luding our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1668"/>
              </p:ext>
            </p:extLst>
          </p:nvPr>
        </p:nvGraphicFramePr>
        <p:xfrm>
          <a:off x="228812" y="1082709"/>
          <a:ext cx="8686588" cy="4349077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app=“store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cript type=“text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&gt;  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Down Arrow 6"/>
          <p:cNvSpPr/>
          <p:nvPr/>
        </p:nvSpPr>
        <p:spPr bwMode="auto">
          <a:xfrm rot="12426612">
            <a:off x="5015940" y="2815721"/>
            <a:ext cx="188495" cy="137510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1760" y="2369016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61760" y="1399425"/>
            <a:ext cx="1527160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008120" y="1288333"/>
            <a:ext cx="445608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пускает этот модуль, при загрузке документ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469578" y="1076907"/>
            <a:ext cx="216024" cy="86106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2" name="Curved Connector 11"/>
          <p:cNvCxnSpPr>
            <a:stCxn id="10" idx="3"/>
          </p:cNvCxnSpPr>
          <p:nvPr/>
        </p:nvCxnSpPr>
        <p:spPr bwMode="auto">
          <a:xfrm flipH="1">
            <a:off x="5181600" y="1463184"/>
            <a:ext cx="3282607" cy="2938695"/>
          </a:xfrm>
          <a:prstGeom prst="curvedConnector3">
            <a:avLst>
              <a:gd name="adj1" fmla="val -696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84427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 animBg="1"/>
    </p:bld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ict Contextual Escaping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Strict Contextual Escaping (SCE</a:t>
            </a:r>
            <a:r>
              <a:rPr lang="en-US" sz="2000" dirty="0" smtClean="0"/>
              <a:t>)</a:t>
            </a:r>
            <a:r>
              <a:rPr lang="ru-RU" sz="2000" dirty="0" smtClean="0"/>
              <a:t> – это режим, в котором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ребует </a:t>
            </a:r>
            <a:r>
              <a:rPr lang="ru-RU" sz="2000" dirty="0" err="1" smtClean="0"/>
              <a:t>биндинга</a:t>
            </a:r>
            <a:r>
              <a:rPr lang="ru-RU" sz="2000" dirty="0" smtClean="0"/>
              <a:t> в определённых контекстах значения, которое помеченное как безопасное для использования в этом контекст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режим реализуется с помощью сервиса </a:t>
            </a:r>
            <a:r>
              <a:rPr lang="en-US" sz="2000" dirty="0" smtClean="0"/>
              <a:t>$</a:t>
            </a:r>
            <a:r>
              <a:rPr lang="en-US" sz="2000" dirty="0" err="1" smtClean="0"/>
              <a:t>sc</a:t>
            </a:r>
            <a:r>
              <a:rPr lang="en-US" sz="2000" dirty="0" err="1"/>
              <a:t>e</a:t>
            </a:r>
            <a:r>
              <a:rPr lang="ru-RU" sz="2000" dirty="0" smtClean="0"/>
              <a:t> и различных основных директи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 пример, рендеринг произвольного контента с помощь директивы </a:t>
            </a:r>
            <a:r>
              <a:rPr lang="en-US" sz="2000" dirty="0" err="1" smtClean="0"/>
              <a:t>ngBindHtml</a:t>
            </a:r>
            <a:r>
              <a:rPr lang="en-US" sz="2000" dirty="0" smtClean="0"/>
              <a:t>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контент поставляется пользователем, то есть шанс на </a:t>
            </a:r>
            <a:r>
              <a:rPr lang="en-US" sz="2000" dirty="0"/>
              <a:t>Cross 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иректива </a:t>
            </a:r>
            <a:r>
              <a:rPr lang="en-US" sz="2000" dirty="0" err="1"/>
              <a:t>ngBindHtml</a:t>
            </a:r>
            <a:r>
              <a:rPr lang="en-US" sz="2000" dirty="0"/>
              <a:t> </a:t>
            </a:r>
            <a:r>
              <a:rPr lang="ru-RU" sz="2000" dirty="0" smtClean="0"/>
              <a:t>не будет отображать содержимое, не помеченное как безопасное в </a:t>
            </a:r>
            <a:r>
              <a:rPr lang="en-US" sz="2000" dirty="0"/>
              <a:t>$</a:t>
            </a:r>
            <a:r>
              <a:rPr lang="en-US" sz="2000" dirty="0" err="1" smtClean="0"/>
              <a:t>sce</a:t>
            </a:r>
            <a:r>
              <a:rPr lang="en-US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дуль </a:t>
            </a:r>
            <a:r>
              <a:rPr lang="en-US" sz="2000" dirty="0" err="1"/>
              <a:t>ngSanitize</a:t>
            </a:r>
            <a:r>
              <a:rPr lang="en-US" sz="2000" dirty="0"/>
              <a:t> </a:t>
            </a:r>
            <a:r>
              <a:rPr lang="ru-RU" sz="2000" dirty="0" smtClean="0"/>
              <a:t>может быть использован для отчистки и пометки такого контента предоставленного пользователем как безопасного.</a:t>
            </a:r>
          </a:p>
        </p:txBody>
      </p:sp>
    </p:spTree>
    <p:extLst>
      <p:ext uri="{BB962C8B-B14F-4D97-AF65-F5344CB8AC3E}">
        <p14:creationId xmlns:p14="http://schemas.microsoft.com/office/powerpoint/2010/main" val="153833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TP-level vulnerabiliti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предотвращения двух распространённых уязвимостей </a:t>
            </a:r>
            <a:r>
              <a:rPr lang="en-US" sz="2000" dirty="0" smtClean="0"/>
              <a:t>HTTP</a:t>
            </a:r>
            <a:r>
              <a:rPr lang="ru-RU" sz="2000" dirty="0" smtClean="0"/>
              <a:t> протокола - </a:t>
            </a:r>
            <a:r>
              <a:rPr lang="en-US" sz="2000" dirty="0"/>
              <a:t>cross-site request forgery (CSRF or XSRF) </a:t>
            </a:r>
            <a:r>
              <a:rPr lang="ru-RU" sz="2000" dirty="0" smtClean="0"/>
              <a:t>и </a:t>
            </a:r>
            <a:r>
              <a:rPr lang="en-US" sz="2000" dirty="0" smtClean="0"/>
              <a:t>cross-site </a:t>
            </a:r>
            <a:r>
              <a:rPr lang="en-US" sz="2000" dirty="0"/>
              <a:t>script inclusion (XSSI</a:t>
            </a:r>
            <a:r>
              <a:rPr lang="en-US" sz="2000" dirty="0" smtClean="0"/>
              <a:t>)</a:t>
            </a:r>
            <a:r>
              <a:rPr lang="ru-RU" sz="2000" dirty="0" smtClean="0"/>
              <a:t>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Обе этих уязвимостей в первую очередь должны быть предотвращены и настроены на сервере, но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позволяет сделать эту интеграцию гораздо проще.</a:t>
            </a:r>
          </a:p>
        </p:txBody>
      </p:sp>
    </p:spTree>
    <p:extLst>
      <p:ext uri="{BB962C8B-B14F-4D97-AF65-F5344CB8AC3E}">
        <p14:creationId xmlns:p14="http://schemas.microsoft.com/office/powerpoint/2010/main" val="222853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</a:t>
            </a:r>
            <a:r>
              <a:rPr lang="en-US" sz="2000" dirty="0"/>
              <a:t>cross-site request </a:t>
            </a:r>
            <a:r>
              <a:rPr lang="en-US" sz="2000" dirty="0" smtClean="0"/>
              <a:t>forgery</a:t>
            </a:r>
            <a:r>
              <a:rPr lang="ru-RU" sz="2000" dirty="0" smtClean="0"/>
              <a:t> злоумышленник обманывает пользователя, посетившего страницу(например </a:t>
            </a:r>
            <a:r>
              <a:rPr lang="en-US" sz="2000" dirty="0"/>
              <a:t>evil.com</a:t>
            </a:r>
            <a:r>
              <a:rPr lang="ru-RU" sz="2000" dirty="0" smtClean="0"/>
              <a:t>) с злокачественным кодом, который тайно посылает вредоносный запрос на </a:t>
            </a:r>
            <a:r>
              <a:rPr lang="ru-RU" sz="2000" dirty="0" err="1" smtClean="0"/>
              <a:t>вэб</a:t>
            </a:r>
            <a:r>
              <a:rPr lang="ru-RU" sz="2000" dirty="0" smtClean="0"/>
              <a:t>-сервер приложения(например </a:t>
            </a:r>
            <a:r>
              <a:rPr lang="en-US" sz="2000" dirty="0"/>
              <a:t>example-bank.com</a:t>
            </a:r>
            <a:r>
              <a:rPr lang="ru-RU" sz="2000" dirty="0" smtClean="0"/>
              <a:t>)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редположим пользователь вошел в приложение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Затем пользователь открывает свою почту, нажимает на ссылку в письме, по которой открывается в новой вкладке 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 сразу же посылает запрос на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 Это может быть запрос на перевод денег со счета пользователя на счет атакующего. При этом браузер автоматически посыл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от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 с этим запросо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, если на нем нет защиты от </a:t>
            </a:r>
            <a:r>
              <a:rPr lang="en-US" sz="2000" dirty="0" smtClean="0"/>
              <a:t>XSFR</a:t>
            </a:r>
            <a:r>
              <a:rPr lang="ru-RU" sz="2000" dirty="0" smtClean="0"/>
              <a:t> не может </a:t>
            </a:r>
            <a:r>
              <a:rPr lang="ru-RU" sz="2000" dirty="0"/>
              <a:t>отличить </a:t>
            </a:r>
            <a:r>
              <a:rPr lang="ru-RU" sz="2000" dirty="0" smtClean="0"/>
              <a:t>легитимный </a:t>
            </a:r>
            <a:r>
              <a:rPr lang="ru-RU" sz="2000" dirty="0"/>
              <a:t>запрос </a:t>
            </a:r>
            <a:r>
              <a:rPr lang="ru-RU" sz="2000" dirty="0" smtClean="0"/>
              <a:t>от не </a:t>
            </a:r>
            <a:r>
              <a:rPr lang="ru-RU" sz="2000" dirty="0"/>
              <a:t>легитимный </a:t>
            </a:r>
            <a:r>
              <a:rPr lang="ru-RU" sz="2000" dirty="0" smtClean="0"/>
              <a:t>и выполняет его.</a:t>
            </a:r>
          </a:p>
        </p:txBody>
      </p:sp>
    </p:spTree>
    <p:extLst>
      <p:ext uri="{BB962C8B-B14F-4D97-AF65-F5344CB8AC3E}">
        <p14:creationId xmlns:p14="http://schemas.microsoft.com/office/powerpoint/2010/main" val="22286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избежать этого, приложение должно гарантировать, что запрос пользователя происходит от реального приложения, а не с другого сайта. Сервер и клиент должны работать вместе, чтобы помешать этой атак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общем случае техника </a:t>
            </a:r>
            <a:r>
              <a:rPr lang="en-US" sz="2000" dirty="0" smtClean="0"/>
              <a:t>anti-XSRF</a:t>
            </a:r>
            <a:r>
              <a:rPr lang="ru-RU" sz="2000" dirty="0" smtClean="0"/>
              <a:t> работает следующим образом – сервер </a:t>
            </a:r>
            <a:r>
              <a:rPr lang="ru-RU" sz="2000" dirty="0"/>
              <a:t>отправляет ключ </a:t>
            </a:r>
            <a:r>
              <a:rPr lang="ru-RU" sz="2000" dirty="0" smtClean="0"/>
              <a:t>аутентификации, сгенерированный случайным образом в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 Клиент чит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добавляет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 запроса с </a:t>
            </a:r>
            <a:r>
              <a:rPr lang="ru-RU" sz="2000" dirty="0" err="1" smtClean="0"/>
              <a:t>токеном</a:t>
            </a:r>
            <a:r>
              <a:rPr lang="ru-RU" sz="2000" dirty="0" smtClean="0"/>
              <a:t> во всех последующих запросах. Сервер сравнивает полученны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заголовком запроса и отклоняет запрос, если значение отсутствует или не совпадает друг другу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метод эффективен, так как все браузеры поддерживают одну и ту же политику. И только код с сайта, на котором установлены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может читать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этого сайта и устанавливать </a:t>
            </a:r>
            <a:r>
              <a:rPr lang="ru-RU" sz="2000" dirty="0" err="1" smtClean="0"/>
              <a:t>кастомные</a:t>
            </a:r>
            <a:r>
              <a:rPr lang="ru-RU" sz="2000" dirty="0" smtClean="0"/>
              <a:t> заголовки запросов на этот сай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означает, что только ваше приложение может читать эти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устанавливать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.</a:t>
            </a:r>
          </a:p>
        </p:txBody>
      </p:sp>
    </p:spTree>
    <p:extLst>
      <p:ext uri="{BB962C8B-B14F-4D97-AF65-F5344CB8AC3E}">
        <p14:creationId xmlns:p14="http://schemas.microsoft.com/office/powerpoint/2010/main" val="281083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выполнения этой техники на клиентской части как </a:t>
            </a:r>
            <a:r>
              <a:rPr lang="en-US" sz="2000" dirty="0" err="1" smtClean="0"/>
              <a:t>XSRFStrategy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о умолчанию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 включается автоматически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отправкой </a:t>
            </a:r>
            <a:r>
              <a:rPr lang="en-US" sz="2000" dirty="0" smtClean="0"/>
              <a:t>HTTP</a:t>
            </a:r>
            <a:r>
              <a:rPr lang="ru-RU" sz="2000" dirty="0" smtClean="0"/>
              <a:t> запроса,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ищ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под названием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дает заголовок с именем </a:t>
            </a:r>
            <a:r>
              <a:rPr lang="en-US" sz="2000" dirty="0" smtClean="0"/>
              <a:t>X-XSRF-TOKEN</a:t>
            </a:r>
            <a:r>
              <a:rPr lang="ru-RU" sz="2000" dirty="0" smtClean="0"/>
              <a:t> со значением этого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должен выполнить свою часть, установив начальное значени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подтвердить, что каждый последующий запрос, изменяющий состояние включает в себя</a:t>
            </a:r>
            <a:r>
              <a:rPr lang="en-US" sz="2000" dirty="0"/>
              <a:t> </a:t>
            </a:r>
            <a:r>
              <a:rPr lang="ru-RU" sz="2000" dirty="0" smtClean="0"/>
              <a:t>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головок </a:t>
            </a:r>
            <a:r>
              <a:rPr lang="en-US" sz="2000" dirty="0" smtClean="0"/>
              <a:t>X-XSRF-TOKEN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XSRF</a:t>
            </a:r>
            <a:r>
              <a:rPr lang="ru-RU" sz="2000" dirty="0" smtClean="0"/>
              <a:t> </a:t>
            </a:r>
            <a:r>
              <a:rPr lang="ru-RU" sz="2000" dirty="0" err="1" smtClean="0"/>
              <a:t>токен</a:t>
            </a:r>
            <a:r>
              <a:rPr lang="ru-RU" sz="2000" dirty="0" smtClean="0"/>
              <a:t> должен быть уникальным для каждого человека и сессии, иметь большое случайное значение, сгенерированное с помощью </a:t>
            </a:r>
            <a:r>
              <a:rPr lang="ru-RU" sz="2000" dirty="0" err="1" smtClean="0"/>
              <a:t>криптографически</a:t>
            </a:r>
            <a:r>
              <a:rPr lang="ru-RU" sz="2000" dirty="0" smtClean="0"/>
              <a:t> безопасного генератора случайных чисел и должен быть </a:t>
            </a:r>
            <a:r>
              <a:rPr lang="ru-RU" sz="2000" dirty="0" err="1" smtClean="0"/>
              <a:t>инвалидирован</a:t>
            </a:r>
            <a:r>
              <a:rPr lang="ru-RU" sz="2000" dirty="0" smtClean="0"/>
              <a:t> через день или два.</a:t>
            </a:r>
          </a:p>
        </p:txBody>
      </p:sp>
    </p:spTree>
    <p:extLst>
      <p:ext uri="{BB962C8B-B14F-4D97-AF65-F5344CB8AC3E}">
        <p14:creationId xmlns:p14="http://schemas.microsoft.com/office/powerpoint/2010/main" val="144011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script inclusion (XSSI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 </a:t>
            </a:r>
            <a:r>
              <a:rPr lang="en-US" sz="2000" dirty="0" smtClean="0"/>
              <a:t>inclusion</a:t>
            </a:r>
            <a:r>
              <a:rPr lang="ru-RU" sz="2000" dirty="0" smtClean="0"/>
              <a:t>, так же известная как </a:t>
            </a:r>
            <a:r>
              <a:rPr lang="en-US" sz="2000" dirty="0"/>
              <a:t>JSON </a:t>
            </a:r>
            <a:r>
              <a:rPr lang="en-US" sz="2000" dirty="0" smtClean="0"/>
              <a:t>vulnerability</a:t>
            </a:r>
            <a:r>
              <a:rPr lang="ru-RU" sz="2000" dirty="0" smtClean="0"/>
              <a:t> может позволить  злоумышленникам читать данные из </a:t>
            </a:r>
            <a:r>
              <a:rPr lang="en-US" sz="2000" dirty="0"/>
              <a:t>JSON </a:t>
            </a:r>
            <a:r>
              <a:rPr lang="en-US" sz="2000" dirty="0" smtClean="0"/>
              <a:t>API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анная атака работает в старых браузерах, переопределяя </a:t>
            </a:r>
            <a:r>
              <a:rPr lang="ru-RU" sz="2000" dirty="0" err="1" smtClean="0"/>
              <a:t>нативный</a:t>
            </a:r>
            <a:r>
              <a:rPr lang="ru-RU" sz="2000" dirty="0" smtClean="0"/>
              <a:t> конструктор объектов </a:t>
            </a:r>
            <a:r>
              <a:rPr lang="en-US" sz="2000" dirty="0"/>
              <a:t>JavaScript </a:t>
            </a:r>
            <a:r>
              <a:rPr lang="ru-RU" sz="2000" dirty="0" smtClean="0"/>
              <a:t>и затем включая </a:t>
            </a:r>
            <a:r>
              <a:rPr lang="en-US" sz="2000" dirty="0" smtClean="0"/>
              <a:t>API URL</a:t>
            </a:r>
            <a:r>
              <a:rPr lang="ru-RU" sz="2000" dirty="0" smtClean="0"/>
              <a:t>, используя тег </a:t>
            </a:r>
            <a:r>
              <a:rPr lang="en-US" sz="2000" dirty="0"/>
              <a:t>&lt;</a:t>
            </a:r>
            <a:r>
              <a:rPr lang="en-US" sz="2000" dirty="0" smtClean="0"/>
              <a:t>script&gt;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а атака будет успешна, только если возвращаемый объект это </a:t>
            </a:r>
            <a:r>
              <a:rPr lang="en-US" sz="2000" dirty="0" smtClean="0"/>
              <a:t>JSON</a:t>
            </a:r>
            <a:r>
              <a:rPr lang="ru-RU" sz="2000" dirty="0" smtClean="0"/>
              <a:t>, который является исполняемым в </a:t>
            </a:r>
            <a:r>
              <a:rPr lang="en-US" sz="2000" dirty="0" smtClean="0"/>
              <a:t>JavaScript</a:t>
            </a:r>
            <a:r>
              <a:rPr lang="ru-RU" sz="2000" dirty="0" smtClean="0"/>
              <a:t>. Серверы могут предотвратить такую атаку, добавив префикс для всех </a:t>
            </a:r>
            <a:r>
              <a:rPr lang="en-US" sz="2000" dirty="0" smtClean="0"/>
              <a:t>JSON</a:t>
            </a:r>
            <a:r>
              <a:rPr lang="ru-RU" sz="2000" dirty="0" smtClean="0"/>
              <a:t> ответов, сделав их не исполняемыми. По соглашению необходимо использовать строку -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ис </a:t>
            </a:r>
            <a:r>
              <a:rPr lang="en-US" sz="2000" dirty="0" smtClean="0"/>
              <a:t>$http</a:t>
            </a:r>
            <a:r>
              <a:rPr lang="ru-RU" sz="2000" dirty="0" smtClean="0"/>
              <a:t> распознает это соглашение и автоматически удаляет строку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 из всех ответов до последующего </a:t>
            </a:r>
            <a:r>
              <a:rPr lang="ru-RU" sz="2000" dirty="0" err="1" smtClean="0"/>
              <a:t>парсинга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емного информации можно подчерпнуть по этим ссылкам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security.googleblog.com/2011/05/website-security-for-webmasters.html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>
                <a:hlinkClick r:id="rId3"/>
              </a:rPr>
              <a:t>http://www.slideshare.net/carlo.bonamico/angularjs-security-defend-your-single-page-application</a:t>
            </a: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379548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7175" y="2582863"/>
            <a:ext cx="4013200" cy="1295400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08263" y="2439988"/>
            <a:ext cx="3725862" cy="1296987"/>
          </a:xfrm>
          <a:prstGeom prst="rect">
            <a:avLst/>
          </a:prstGeom>
          <a:solidFill>
            <a:schemeClr val="tx2">
              <a:alpha val="4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9460" name="Прямоугольник 4"/>
          <p:cNvSpPr>
            <a:spLocks noChangeArrowheads="1"/>
          </p:cNvSpPr>
          <p:nvPr/>
        </p:nvSpPr>
        <p:spPr bwMode="auto">
          <a:xfrm>
            <a:off x="3389313" y="2816225"/>
            <a:ext cx="25415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3600" b="0">
                <a:solidFill>
                  <a:schemeClr val="bg1"/>
                </a:solidFill>
                <a:latin typeface="TeleGrotesk Headline Ultra" pitchFamily="2" charset="0"/>
              </a:rPr>
              <a:t>THANK YOU</a:t>
            </a:r>
            <a:r>
              <a:rPr lang="en-US" sz="3200" b="0">
                <a:solidFill>
                  <a:schemeClr val="bg1"/>
                </a:solidFill>
                <a:latin typeface="TeleGrotesk Headline Ultra" pitchFamily="2" charset="0"/>
              </a:rPr>
              <a:t>!</a:t>
            </a:r>
            <a:endParaRPr lang="ru-RU" sz="3200" b="0">
              <a:solidFill>
                <a:schemeClr val="bg1"/>
              </a:solidFill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5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88068"/>
            <a:ext cx="7659209" cy="887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зволяют добавлять динамические значения в </a:t>
            </a:r>
            <a:r>
              <a:rPr lang="en-US" sz="2600" dirty="0" smtClean="0">
                <a:latin typeface="Arial Narrow" pitchFamily="34" charset="0"/>
              </a:rPr>
              <a:t>HTML</a:t>
            </a: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848469"/>
              </p:ext>
            </p:extLst>
          </p:nvPr>
        </p:nvGraphicFramePr>
        <p:xfrm>
          <a:off x="509431" y="2474893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{{4 + 6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6238695"/>
              </p:ext>
            </p:extLst>
          </p:nvPr>
        </p:nvGraphicFramePr>
        <p:xfrm>
          <a:off x="4796234" y="2488526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10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73065"/>
              </p:ext>
            </p:extLst>
          </p:nvPr>
        </p:nvGraphicFramePr>
        <p:xfrm>
          <a:off x="509431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“hello” + “ you”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688121"/>
              </p:ext>
            </p:extLst>
          </p:nvPr>
        </p:nvGraphicFramePr>
        <p:xfrm>
          <a:off x="4866715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hello you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Down Arrow 11"/>
          <p:cNvSpPr/>
          <p:nvPr/>
        </p:nvSpPr>
        <p:spPr bwMode="auto">
          <a:xfrm rot="16200000">
            <a:off x="4039783" y="2263346"/>
            <a:ext cx="232743" cy="126055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 rot="16200000">
            <a:off x="4039783" y="3644818"/>
            <a:ext cx="232745" cy="126055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0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447386"/>
              </p:ext>
            </p:extLst>
          </p:nvPr>
        </p:nvGraphicFramePr>
        <p:xfrm>
          <a:off x="228812" y="1082709"/>
          <a:ext cx="8686588" cy="459444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“store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“hello” + “ you”}}&lt;/p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928758" y="3083240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1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832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473676"/>
              </p:ext>
            </p:extLst>
          </p:nvPr>
        </p:nvGraphicFramePr>
        <p:xfrm>
          <a:off x="228812" y="13722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"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552546"/>
              </p:ext>
            </p:extLst>
          </p:nvPr>
        </p:nvGraphicFramePr>
        <p:xfrm>
          <a:off x="228812" y="256860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978359"/>
              </p:ext>
            </p:extLst>
          </p:nvPr>
        </p:nvGraphicFramePr>
        <p:xfrm>
          <a:off x="228812" y="37163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1 ng-show="name"&gt; Hello, {{name}}! &lt;/h1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793885"/>
              </p:ext>
            </p:extLst>
          </p:nvPr>
        </p:nvGraphicFramePr>
        <p:xfrm>
          <a:off x="228812" y="488984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{{product.name}} &lt;/li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326551" y="806631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app – </a:t>
            </a:r>
            <a:r>
              <a:rPr lang="ru-RU" sz="2000" dirty="0" smtClean="0">
                <a:latin typeface="Arial Narrow" pitchFamily="34" charset="0"/>
              </a:rPr>
              <a:t>прикрепляет модуль приложения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326550" y="1942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controller – </a:t>
            </a:r>
            <a:r>
              <a:rPr lang="ru-RU" sz="2000" dirty="0" smtClean="0">
                <a:latin typeface="Arial Narrow" pitchFamily="34" charset="0"/>
              </a:rPr>
              <a:t>прикрепляет контроллер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4" name="Content Placeholder 2"/>
          <p:cNvSpPr>
            <a:spLocks/>
          </p:cNvSpPr>
          <p:nvPr/>
        </p:nvSpPr>
        <p:spPr bwMode="gray">
          <a:xfrm>
            <a:off x="326550" y="3085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show/ng-hide – </a:t>
            </a:r>
            <a:r>
              <a:rPr lang="ru-RU" sz="2000" dirty="0" smtClean="0">
                <a:latin typeface="Arial Narrow" pitchFamily="34" charset="0"/>
              </a:rPr>
              <a:t>показывает/скрывает секцию, основываясь на выражениях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Content Placeholder 2"/>
          <p:cNvSpPr>
            <a:spLocks/>
          </p:cNvSpPr>
          <p:nvPr/>
        </p:nvSpPr>
        <p:spPr bwMode="gray">
          <a:xfrm>
            <a:off x="326551" y="429659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repeat – </a:t>
            </a:r>
            <a:r>
              <a:rPr lang="ru-RU" sz="2000" dirty="0" smtClean="0">
                <a:latin typeface="Arial Narrow" pitchFamily="34" charset="0"/>
              </a:rPr>
              <a:t>повторяет секцию для каждого элемента в массив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58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dburdyga\Desktop\PICTURES\background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3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el 2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38"/>
          </a:xfrm>
        </p:spPr>
        <p:txBody>
          <a:bodyPr/>
          <a:lstStyle/>
          <a:p>
            <a:pPr>
              <a:defRPr/>
            </a:pPr>
            <a:endParaRPr sz="2400" b="1" dirty="0">
              <a:solidFill>
                <a:schemeClr val="bg1"/>
              </a:solidFill>
              <a:latin typeface="TeleGrotesk Headline" pitchFamily="2" charset="0"/>
            </a:endParaRPr>
          </a:p>
        </p:txBody>
      </p:sp>
      <p:sp>
        <p:nvSpPr>
          <p:cNvPr id="26" name="Rectangle 63"/>
          <p:cNvSpPr>
            <a:spLocks noChangeArrowheads="1"/>
          </p:cNvSpPr>
          <p:nvPr/>
        </p:nvSpPr>
        <p:spPr bwMode="gray">
          <a:xfrm>
            <a:off x="3374394" y="3425825"/>
            <a:ext cx="4753606" cy="6127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72000" tIns="72000" rIns="72000" bIns="36000"/>
          <a:lstStyle/>
          <a:p>
            <a:pPr>
              <a:defRPr/>
            </a:pPr>
            <a:r>
              <a:rPr lang="en-US" sz="1800" dirty="0" smtClean="0">
                <a:solidFill>
                  <a:schemeClr val="tx2"/>
                </a:solidFill>
                <a:latin typeface="TeleGrotesk Headline Ultra" pitchFamily="2" charset="0"/>
              </a:rPr>
              <a:t>Boris Finkelshteyn</a:t>
            </a:r>
          </a:p>
          <a:p>
            <a:pPr>
              <a:defRPr/>
            </a:pPr>
            <a:r>
              <a:rPr lang="en-US" sz="18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T-systems Russia</a:t>
            </a:r>
          </a:p>
          <a:p>
            <a:pPr>
              <a:defRPr/>
            </a:pPr>
            <a:r>
              <a:rPr lang="en-US" sz="14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Senior software developer</a:t>
            </a:r>
            <a:endParaRPr lang="en-US" sz="1800" kern="0" dirty="0" smtClean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en-US" sz="1800" kern="0" dirty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de-DE" sz="1800" b="0" kern="0" dirty="0">
              <a:solidFill>
                <a:srgbClr val="999999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7" name="Прямоугольник 3"/>
          <p:cNvSpPr>
            <a:spLocks noChangeArrowheads="1"/>
          </p:cNvSpPr>
          <p:nvPr/>
        </p:nvSpPr>
        <p:spPr bwMode="auto">
          <a:xfrm>
            <a:off x="3374394" y="5112399"/>
            <a:ext cx="33618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3"/>
              </a:rPr>
              <a:t>Boris.Finkelshteyn@t-systems.ru</a:t>
            </a:r>
            <a:endParaRPr lang="en-US" sz="1600" u="sng" dirty="0" smtClean="0">
              <a:solidFill>
                <a:srgbClr val="999999"/>
              </a:solidFill>
              <a:latin typeface="Tele-GroteskNCNor" pitchFamily="2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yam.telekom.de/people/</a:t>
            </a:r>
            <a:r>
              <a:rPr lang="en-US" sz="1600" u="sng" dirty="0" err="1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boris_finkelshteyn</a:t>
            </a:r>
            <a:endParaRPr lang="en-US" sz="1600" u="sng" dirty="0">
              <a:solidFill>
                <a:srgbClr val="999999"/>
              </a:solidFill>
              <a:latin typeface="Tele-GroteskNC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C516B-12A5-46F6-8115-6B77EF8626EB}" type="datetime6">
              <a:rPr lang="en-US" smtClean="0">
                <a:solidFill>
                  <a:srgbClr val="000000"/>
                </a:solidFill>
              </a:rPr>
              <a:t>December 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Rounded Rectangle 7"/>
          <p:cNvSpPr>
            <a:spLocks/>
          </p:cNvSpPr>
          <p:nvPr/>
        </p:nvSpPr>
        <p:spPr>
          <a:xfrm>
            <a:off x="468681" y="1859118"/>
            <a:ext cx="2749984" cy="2694744"/>
          </a:xfrm>
          <a:prstGeom prst="roundRect">
            <a:avLst/>
          </a:prstGeom>
          <a:blipFill dpi="0" rotWithShape="1">
            <a:blip r:embed="rId5"/>
            <a:srcRect/>
            <a:stretch>
              <a:fillRect l="-38000" t="-14000" r="-62000"/>
            </a:stretch>
          </a:blipFill>
          <a:ln w="53975">
            <a:gradFill>
              <a:gsLst>
                <a:gs pos="68000">
                  <a:schemeClr val="tx2"/>
                </a:gs>
                <a:gs pos="87500">
                  <a:schemeClr val="tx2"/>
                </a:gs>
                <a:gs pos="1000">
                  <a:schemeClr val="bg1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8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de examp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238327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122" name="Picture 2" descr="C:\Users\bFinkels\Documents\AngularJS\filters_example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85" y="4193223"/>
            <a:ext cx="3867150" cy="180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138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394265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urrenc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146" name="Picture 2" descr="C:\Users\bFinkels\Documents\AngularJS\filters_example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" y="4240212"/>
            <a:ext cx="3886200" cy="1762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own Arrow 8"/>
          <p:cNvSpPr/>
          <p:nvPr/>
        </p:nvSpPr>
        <p:spPr bwMode="auto">
          <a:xfrm>
            <a:off x="5627642" y="2674618"/>
            <a:ext cx="216024" cy="195834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6473233" y="2674618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4892041" y="4899660"/>
            <a:ext cx="425196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Переводит «вывод» на «вход»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240780" y="4122420"/>
            <a:ext cx="248412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Форматирует в валют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09972" y="2336480"/>
            <a:ext cx="106161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4892041" y="5233304"/>
            <a:ext cx="425196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 локализованный символ доллара</a:t>
            </a:r>
          </a:p>
          <a:p>
            <a:r>
              <a:rPr lang="ru-RU" sz="1800" dirty="0"/>
              <a:t>Добавляет цифры после </a:t>
            </a:r>
            <a:r>
              <a:rPr lang="ru-RU" sz="1800" dirty="0" smtClean="0"/>
              <a:t>точки</a:t>
            </a:r>
            <a:endParaRPr lang="ru-RU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3202992" y="4449834"/>
            <a:ext cx="1285188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2" grpId="0"/>
      <p:bldP spid="14" grpId="0" animBg="1"/>
      <p:bldP spid="16" grpId="0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312014"/>
              </p:ext>
            </p:extLst>
          </p:nvPr>
        </p:nvGraphicFramePr>
        <p:xfrm>
          <a:off x="2468738" y="951447"/>
          <a:ext cx="4137625" cy="365091"/>
        </p:xfrm>
        <a:graphic>
          <a:graphicData uri="http://schemas.openxmlformats.org/drawingml/2006/table">
            <a:tbl>
              <a:tblPr/>
              <a:tblGrid>
                <a:gridCol w="413762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 data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ilter:op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7" y="798635"/>
            <a:ext cx="2682791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щий вид</a:t>
            </a:r>
            <a:endParaRPr lang="ru-RU" sz="2000" dirty="0" smtClean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521127"/>
              </p:ext>
            </p:extLst>
          </p:nvPr>
        </p:nvGraphicFramePr>
        <p:xfrm>
          <a:off x="130294" y="1907654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1388123412323'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ate:'M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yyy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@ h:mma'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93196" y="1365237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Dat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5592725" y="1853977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12/27/2013 @ 12:50AM</a:t>
            </a:r>
            <a:endParaRPr lang="ru-RU" sz="1800" dirty="0" err="1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06664"/>
              </p:ext>
            </p:extLst>
          </p:nvPr>
        </p:nvGraphicFramePr>
        <p:xfrm>
          <a:off x="130294" y="284424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‘product name' | uppercase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Content Placeholder 2"/>
          <p:cNvSpPr>
            <a:spLocks/>
          </p:cNvSpPr>
          <p:nvPr/>
        </p:nvSpPr>
        <p:spPr bwMode="gray">
          <a:xfrm>
            <a:off x="193195" y="227860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smtClean="0"/>
              <a:t>Uppercase </a:t>
            </a:r>
            <a:r>
              <a:rPr lang="en-US" sz="2000" b="1" dirty="0"/>
              <a:t>&amp; </a:t>
            </a:r>
            <a:r>
              <a:rPr lang="en-US" sz="2000" b="1" dirty="0" smtClean="0"/>
              <a:t>Lowercas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5592725" y="2790564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PRODUCT NAME</a:t>
            </a:r>
            <a:endParaRPr lang="ru-RU" sz="1800" dirty="0" err="1" smtClean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401370"/>
              </p:ext>
            </p:extLst>
          </p:nvPr>
        </p:nvGraphicFramePr>
        <p:xfrm>
          <a:off x="95458" y="386851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My Description' | limitTo:8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/>
          </p:cNvSpPr>
          <p:nvPr/>
        </p:nvSpPr>
        <p:spPr bwMode="gray">
          <a:xfrm>
            <a:off x="193197" y="330287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LimitTo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669644" y="3791613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y </a:t>
            </a:r>
            <a:r>
              <a:rPr lang="en-US" sz="1800" b="1" dirty="0" err="1"/>
              <a:t>Descr</a:t>
            </a:r>
            <a:endParaRPr lang="ru-RU" sz="1800" dirty="0" err="1" smtClean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17126"/>
              </p:ext>
            </p:extLst>
          </p:nvPr>
        </p:nvGraphicFramePr>
        <p:xfrm>
          <a:off x="95458" y="4341640"/>
          <a:ext cx="6078514" cy="365091"/>
        </p:xfrm>
        <a:graphic>
          <a:graphicData uri="http://schemas.openxmlformats.org/drawingml/2006/table">
            <a:tbl>
              <a:tblPr/>
              <a:tblGrid>
                <a:gridCol w="6078514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limitTo:3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699558"/>
              </p:ext>
            </p:extLst>
          </p:nvPr>
        </p:nvGraphicFramePr>
        <p:xfrm>
          <a:off x="95458" y="5393978"/>
          <a:ext cx="7070885" cy="365091"/>
        </p:xfrm>
        <a:graphic>
          <a:graphicData uri="http://schemas.openxmlformats.org/drawingml/2006/table">
            <a:tbl>
              <a:tblPr/>
              <a:tblGrid>
                <a:gridCol w="707088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rderB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'-price'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Content Placeholder 2"/>
          <p:cNvSpPr>
            <a:spLocks/>
          </p:cNvSpPr>
          <p:nvPr/>
        </p:nvSpPr>
        <p:spPr bwMode="gray">
          <a:xfrm>
            <a:off x="193193" y="477761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OrderBy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47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853241"/>
              </p:ext>
            </p:extLst>
          </p:nvPr>
        </p:nvGraphicFramePr>
        <p:xfrm>
          <a:off x="228812" y="1082709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products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‘First product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price: 2.9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image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‘product-01-full.jpg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umb: ‘product-01-thumb.jpg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“product-02-full.jpg"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833494"/>
              </p:ext>
            </p:extLst>
          </p:nvPr>
        </p:nvGraphicFramePr>
        <p:xfrm>
          <a:off x="207214" y="5096591"/>
          <a:ext cx="5299399" cy="566928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228812" y="4533244"/>
            <a:ext cx="5632289" cy="563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dirty="0" smtClean="0"/>
              <a:t>Для отображения первого изображения в массиве: </a:t>
            </a:r>
            <a:endParaRPr lang="ru-RU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71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</a:t>
            </a:r>
            <a:r>
              <a:rPr lang="en-US" dirty="0" err="1" smtClean="0"/>
              <a:t>src</a:t>
            </a:r>
            <a:r>
              <a:rPr lang="en-US" dirty="0" smtClean="0"/>
              <a:t> for imag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854693"/>
              </p:ext>
            </p:extLst>
          </p:nvPr>
        </p:nvGraphicFramePr>
        <p:xfrm>
          <a:off x="130293" y="1532322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5" y="876497"/>
            <a:ext cx="7029856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Нельзя использовать выражения </a:t>
            </a:r>
            <a:r>
              <a:rPr lang="ru-RU" sz="2000" dirty="0" err="1" smtClean="0">
                <a:latin typeface="Arial Narrow" pitchFamily="34" charset="0"/>
              </a:rPr>
              <a:t>Ангуляра</a:t>
            </a:r>
            <a:r>
              <a:rPr lang="ru-RU" sz="2000" dirty="0" smtClean="0">
                <a:latin typeface="Arial Narrow" pitchFamily="34" charset="0"/>
              </a:rPr>
              <a:t> внутри атрибута </a:t>
            </a:r>
            <a:r>
              <a:rPr lang="en-US" sz="2000" dirty="0" err="1" smtClean="0">
                <a:latin typeface="Arial Narrow" pitchFamily="34" charset="0"/>
              </a:rPr>
              <a:t>src</a:t>
            </a:r>
            <a:endParaRPr lang="ru-RU" sz="2000" dirty="0" smtClean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592724" y="1365237"/>
            <a:ext cx="3147237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b="1" dirty="0" smtClean="0"/>
              <a:t>Браузер начнет загружать изображение до выполнения выражения </a:t>
            </a:r>
            <a:r>
              <a:rPr lang="ru-RU" sz="1800" b="1" dirty="0" err="1" smtClean="0"/>
              <a:t>Ангуляра</a:t>
            </a:r>
            <a:endParaRPr lang="ru-RU" sz="1800" dirty="0" smtClean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249893"/>
              </p:ext>
            </p:extLst>
          </p:nvPr>
        </p:nvGraphicFramePr>
        <p:xfrm>
          <a:off x="152982" y="2713034"/>
          <a:ext cx="8686588" cy="298246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currency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223032" y="4200722"/>
            <a:ext cx="47099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81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Tab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0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1254768" y="454747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r>
              <a:rPr lang="en-US" sz="1800" b="1" dirty="0" smtClean="0"/>
              <a:t> 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21" name="TextBox 20"/>
          <p:cNvSpPr txBox="1"/>
          <p:nvPr/>
        </p:nvSpPr>
        <p:spPr bwMode="gray">
          <a:xfrm>
            <a:off x="1215654" y="447985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20" name="Rounded Rectangle 1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1215654" y="447985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62334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7" grpId="0" animBg="1"/>
      <p:bldP spid="12" grpId="0" animBg="1"/>
      <p:bldP spid="11" grpId="0" animBg="1"/>
      <p:bldP spid="13" grpId="0" animBg="1"/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gray">
          <a:xfrm>
            <a:off x="4474534" y="3411695"/>
            <a:ext cx="4180368" cy="270312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414259"/>
              </p:ext>
            </p:extLst>
          </p:nvPr>
        </p:nvGraphicFramePr>
        <p:xfrm>
          <a:off x="130294" y="1167769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1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2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3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589461" y="375970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5941827" y="375970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7501269" y="375970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733258" y="4477401"/>
            <a:ext cx="3820633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2371349" y="1684350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71349" y="1943889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71349" y="2167987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1240" y="2674806"/>
            <a:ext cx="1056169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2371349" y="2406597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390149" y="2886589"/>
            <a:ext cx="216024" cy="1876665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37301" y="3755204"/>
            <a:ext cx="258333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начает значение для</a:t>
            </a:r>
            <a:r>
              <a:rPr lang="en-US" sz="1800" dirty="0" smtClean="0"/>
              <a:t> </a:t>
            </a:r>
            <a:r>
              <a:rPr lang="ru-RU" sz="1800" dirty="0" smtClean="0"/>
              <a:t>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59664" y="4892899"/>
            <a:ext cx="248412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водит на экран значение 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211720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1245373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3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15654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2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2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ounded Rectangle 22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1215653" y="4510102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1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2798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3" grpId="0" animBg="1"/>
      <p:bldP spid="2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-</a:t>
            </a:r>
            <a:r>
              <a:rPr lang="en-US" dirty="0" smtClean="0"/>
              <a:t>way data bind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453116"/>
            <a:ext cx="682610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огда </a:t>
            </a:r>
            <a:r>
              <a:rPr lang="en-US" sz="1800" dirty="0" smtClean="0"/>
              <a:t>ng-click </a:t>
            </a:r>
            <a:r>
              <a:rPr lang="ru-RU" sz="1800" dirty="0" smtClean="0"/>
              <a:t>меняет значение переменной </a:t>
            </a:r>
            <a:r>
              <a:rPr lang="en-US" sz="1800" dirty="0" smtClean="0"/>
              <a:t>tab</a:t>
            </a:r>
            <a:r>
              <a:rPr lang="ru-RU" sz="1800" dirty="0" smtClean="0"/>
              <a:t>, то выражение </a:t>
            </a:r>
            <a:r>
              <a:rPr lang="en-US" sz="1800" dirty="0" smtClean="0"/>
              <a:t>{{tab}}</a:t>
            </a:r>
            <a:r>
              <a:rPr lang="ru-RU" sz="1800" dirty="0" smtClean="0"/>
              <a:t> автоматически обновляется.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326551" y="2661683"/>
            <a:ext cx="6826102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определяют двухстороннее связывание</a:t>
            </a:r>
            <a:r>
              <a:rPr lang="en-US" sz="1800" dirty="0" smtClean="0"/>
              <a:t>(2-way Data Binding).</a:t>
            </a:r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Это означает, что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изменяют значение когда само свойство изменяется.</a:t>
            </a:r>
          </a:p>
        </p:txBody>
      </p:sp>
    </p:spTree>
    <p:extLst>
      <p:ext uri="{BB962C8B-B14F-4D97-AF65-F5344CB8AC3E}">
        <p14:creationId xmlns:p14="http://schemas.microsoft.com/office/powerpoint/2010/main" val="361085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skil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December 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323850" y="1403749"/>
            <a:ext cx="3057303" cy="3083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HTML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JavaScrip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CSS</a:t>
            </a: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/>
              <a:t>IntelliJ IDEA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 smtClean="0"/>
              <a:t>Tomcat</a:t>
            </a:r>
            <a:endParaRPr lang="en-US" sz="28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4785980" y="1403748"/>
            <a:ext cx="3057303" cy="3373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ы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AngularJS(1.x) junior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роект на </a:t>
            </a:r>
            <a:r>
              <a:rPr lang="en-US" sz="2600" dirty="0" smtClean="0">
                <a:latin typeface="Arial Narrow" pitchFamily="34" charset="0"/>
              </a:rPr>
              <a:t>AngularJS </a:t>
            </a: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84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content pane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182445"/>
              </p:ext>
            </p:extLst>
          </p:nvPr>
        </p:nvGraphicFramePr>
        <p:xfrm>
          <a:off x="136825" y="800078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441786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5408428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показывать нужную панель, при переключении </a:t>
            </a:r>
          </a:p>
        </p:txBody>
      </p:sp>
    </p:spTree>
    <p:extLst>
      <p:ext uri="{BB962C8B-B14F-4D97-AF65-F5344CB8AC3E}">
        <p14:creationId xmlns:p14="http://schemas.microsoft.com/office/powerpoint/2010/main" val="233277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178349"/>
              </p:ext>
            </p:extLst>
          </p:nvPr>
        </p:nvGraphicFramePr>
        <p:xfrm>
          <a:off x="136825" y="800078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81512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2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3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94548" y="1309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94547" y="2311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94548" y="3283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76447" y="5045554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при выборе вкладки будет показываться соответствующая панель</a:t>
            </a:r>
          </a:p>
        </p:txBody>
      </p:sp>
    </p:spTree>
    <p:extLst>
      <p:ext uri="{BB962C8B-B14F-4D97-AF65-F5344CB8AC3E}">
        <p14:creationId xmlns:p14="http://schemas.microsoft.com/office/powerpoint/2010/main" val="424452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8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2" grpId="0" animBg="1"/>
      <p:bldP spid="13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86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initial valu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255146"/>
              </p:ext>
            </p:extLst>
          </p:nvPr>
        </p:nvGraphicFramePr>
        <p:xfrm>
          <a:off x="136825" y="1883694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1125684"/>
            <a:ext cx="781847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en-US" sz="1800" dirty="0" smtClean="0"/>
              <a:t> </a:t>
            </a:r>
            <a:r>
              <a:rPr lang="ru-RU" sz="1800" dirty="0" smtClean="0"/>
              <a:t>позволяет исполнять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в текущем скопе(область </a:t>
            </a:r>
            <a:r>
              <a:rPr lang="ru-RU" sz="1800" dirty="0" err="1" smtClean="0"/>
              <a:t>видиности</a:t>
            </a:r>
            <a:r>
              <a:rPr lang="ru-RU" sz="1800" dirty="0" smtClean="0"/>
              <a:t>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9823" y="1874353"/>
            <a:ext cx="1820084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76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4397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active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125684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добави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 к выбранной вкладк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684479"/>
              </p:ext>
            </p:extLst>
          </p:nvPr>
        </p:nvGraphicFramePr>
        <p:xfrm>
          <a:off x="136825" y="1883694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82231" y="2413069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82228" y="3103663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82227" y="3890995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3047994" y="4129605"/>
            <a:ext cx="216024" cy="108743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4327740" y="4129604"/>
            <a:ext cx="216024" cy="1512739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276447" y="5287730"/>
            <a:ext cx="353709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вание класса, который надо задать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3636328" y="5733125"/>
            <a:ext cx="52808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е для вычисления, если результат – </a:t>
            </a:r>
            <a:r>
              <a:rPr lang="en-US" sz="1800" dirty="0" smtClean="0"/>
              <a:t>true</a:t>
            </a:r>
            <a:r>
              <a:rPr lang="ru-RU" sz="1800" dirty="0" smtClean="0"/>
              <a:t>, то зада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, если нет – то ничего не делать</a:t>
            </a:r>
          </a:p>
        </p:txBody>
      </p:sp>
    </p:spTree>
    <p:extLst>
      <p:ext uri="{BB962C8B-B14F-4D97-AF65-F5344CB8AC3E}">
        <p14:creationId xmlns:p14="http://schemas.microsoft.com/office/powerpoint/2010/main" val="147250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active clas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45982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571652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812333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я наша логика находится в </a:t>
            </a:r>
            <a:r>
              <a:rPr lang="en-US" sz="1800" dirty="0" smtClean="0"/>
              <a:t>HTML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392866" y="1395237"/>
            <a:ext cx="4312193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234850"/>
              </p:ext>
            </p:extLst>
          </p:nvPr>
        </p:nvGraphicFramePr>
        <p:xfrm>
          <a:off x="1842884" y="5541490"/>
          <a:ext cx="5439206" cy="774192"/>
        </p:xfrm>
        <a:graphic>
          <a:graphicData uri="http://schemas.openxmlformats.org/drawingml/2006/table">
            <a:tbl>
              <a:tblPr/>
              <a:tblGrid>
                <a:gridCol w="5439206"/>
              </a:tblGrid>
              <a:tr h="60133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625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567081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57741" y="1387508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781625"/>
              </p:ext>
            </p:extLst>
          </p:nvPr>
        </p:nvGraphicFramePr>
        <p:xfrm>
          <a:off x="1382140" y="5455064"/>
          <a:ext cx="5514846" cy="1019556"/>
        </p:xfrm>
        <a:graphic>
          <a:graphicData uri="http://schemas.openxmlformats.org/drawingml/2006/table">
            <a:tbl>
              <a:tblPr/>
              <a:tblGrid>
                <a:gridCol w="5514846"/>
              </a:tblGrid>
              <a:tr h="87609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822792" y="5722855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83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E20074"/>
                </a:solidFill>
              </a:rPr>
              <a:t>Agenda</a:t>
            </a:r>
            <a:r>
              <a:rPr lang="ru-RU" sz="2400" dirty="0">
                <a:solidFill>
                  <a:srgbClr val="E20074"/>
                </a:solidFill>
              </a:rPr>
              <a:t/>
            </a:r>
            <a:br>
              <a:rPr lang="ru-RU" sz="2400" dirty="0">
                <a:solidFill>
                  <a:srgbClr val="E20074"/>
                </a:solidFill>
              </a:rPr>
            </a:br>
            <a:r>
              <a:rPr lang="en-US" sz="2400" dirty="0" smtClean="0">
                <a:solidFill>
                  <a:srgbClr val="E20074"/>
                </a:solidFill>
              </a:rPr>
              <a:t/>
            </a:r>
            <a:br>
              <a:rPr lang="en-US" sz="2400" dirty="0" smtClean="0">
                <a:solidFill>
                  <a:srgbClr val="E20074"/>
                </a:solidFill>
              </a:rPr>
            </a:b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0B184-719E-4FB9-8DC2-733A435C6D45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Прямоугольник 7"/>
          <p:cNvSpPr/>
          <p:nvPr/>
        </p:nvSpPr>
        <p:spPr bwMode="gray">
          <a:xfrm>
            <a:off x="326551" y="1079691"/>
            <a:ext cx="1440000" cy="144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39352" y="109354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2417991" y="1079691"/>
            <a:ext cx="1440000" cy="14400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6528876" y="107969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2347912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 bwMode="gray">
          <a:xfrm>
            <a:off x="326551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37336" y="1624258"/>
            <a:ext cx="142921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en-US" sz="1800" kern="0" dirty="0" smtClean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overview</a:t>
            </a: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17991" y="1628875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s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39352" y="1624537"/>
            <a:ext cx="1440000" cy="378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Tabs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528876" y="1479364"/>
            <a:ext cx="144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Forms and Models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6551" y="3931711"/>
            <a:ext cx="1440001" cy="6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Custom Directives</a:t>
            </a:r>
          </a:p>
        </p:txBody>
      </p:sp>
      <p:sp>
        <p:nvSpPr>
          <p:cNvPr id="18" name="Прямоугольник 15"/>
          <p:cNvSpPr/>
          <p:nvPr/>
        </p:nvSpPr>
        <p:spPr>
          <a:xfrm>
            <a:off x="2347912" y="3932222"/>
            <a:ext cx="15123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 Controllers </a:t>
            </a:r>
          </a:p>
        </p:txBody>
      </p:sp>
      <p:sp>
        <p:nvSpPr>
          <p:cNvPr id="19" name="Прямоугольник 8"/>
          <p:cNvSpPr/>
          <p:nvPr/>
        </p:nvSpPr>
        <p:spPr bwMode="gray">
          <a:xfrm>
            <a:off x="4492515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Прямоугольник 10"/>
          <p:cNvSpPr/>
          <p:nvPr/>
        </p:nvSpPr>
        <p:spPr bwMode="gray">
          <a:xfrm>
            <a:off x="6582039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Прямоугольник 3"/>
          <p:cNvSpPr/>
          <p:nvPr/>
        </p:nvSpPr>
        <p:spPr>
          <a:xfrm>
            <a:off x="4460391" y="4035606"/>
            <a:ext cx="15042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ependencies</a:t>
            </a:r>
          </a:p>
        </p:txBody>
      </p:sp>
      <p:sp>
        <p:nvSpPr>
          <p:cNvPr id="22" name="Прямоугольник 14"/>
          <p:cNvSpPr/>
          <p:nvPr/>
        </p:nvSpPr>
        <p:spPr>
          <a:xfrm>
            <a:off x="6582039" y="3989568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Services </a:t>
            </a:r>
          </a:p>
        </p:txBody>
      </p:sp>
    </p:spTree>
    <p:extLst>
      <p:ext uri="{BB962C8B-B14F-4D97-AF65-F5344CB8AC3E}">
        <p14:creationId xmlns:p14="http://schemas.microsoft.com/office/powerpoint/2010/main" val="278063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298517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101164"/>
              </p:ext>
            </p:extLst>
          </p:nvPr>
        </p:nvGraphicFramePr>
        <p:xfrm>
          <a:off x="1451976" y="4473608"/>
          <a:ext cx="5352336" cy="1755648"/>
        </p:xfrm>
        <a:graphic>
          <a:graphicData uri="http://schemas.openxmlformats.org/drawingml/2006/table">
            <a:tbl>
              <a:tblPr/>
              <a:tblGrid>
                <a:gridCol w="5352336"/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968115" y="1710186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Description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71663" y="245543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Specification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1663" y="3193190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Review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49636" y="4926943"/>
            <a:ext cx="3883348" cy="79135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28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72788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=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1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331162"/>
              </p:ext>
            </p:extLst>
          </p:nvPr>
        </p:nvGraphicFramePr>
        <p:xfrm>
          <a:off x="1451976" y="4041218"/>
          <a:ext cx="5352336" cy="2491740"/>
        </p:xfrm>
        <a:graphic>
          <a:graphicData uri="http://schemas.openxmlformats.org/drawingml/2006/table">
            <a:tbl>
              <a:tblPr/>
              <a:tblGrid>
                <a:gridCol w="5352336"/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isSelected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329637" y="147628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36725" y="2205283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29637" y="2943581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56946" y="5295539"/>
            <a:ext cx="4224114" cy="70122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8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logic in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01474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Forms and Model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569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843516" y="800077"/>
            <a:ext cx="4564913" cy="542351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221097" y="3811474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</a:t>
            </a:r>
            <a:r>
              <a:rPr lang="en-US" sz="1800" b="1" dirty="0" smtClean="0"/>
              <a:t>5 </a:t>
            </a:r>
            <a:r>
              <a:rPr lang="en-US" sz="1800" b="1" dirty="0"/>
              <a:t>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</a:t>
            </a:r>
            <a:r>
              <a:rPr lang="en-US" sz="1800" dirty="0" smtClean="0"/>
              <a:t>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joe@thomas.com </a:t>
            </a:r>
          </a:p>
          <a:p>
            <a:endParaRPr lang="en-US" sz="1800" b="1" dirty="0" smtClean="0"/>
          </a:p>
          <a:p>
            <a:r>
              <a:rPr lang="en-US" sz="1800" b="1" dirty="0" smtClean="0"/>
              <a:t>  4 </a:t>
            </a:r>
            <a:r>
              <a:rPr lang="en-US" sz="1800" b="1" dirty="0"/>
              <a:t>Stars </a:t>
            </a:r>
            <a:r>
              <a:rPr lang="en-US" sz="1800" b="1" dirty="0" smtClean="0"/>
              <a:t> </a:t>
            </a:r>
            <a:r>
              <a:rPr lang="en-US" sz="1800" dirty="0" smtClean="0"/>
              <a:t>The </a:t>
            </a:r>
            <a:r>
              <a:rPr lang="en-US" sz="1800" dirty="0"/>
              <a:t>device is quite satisfied. </a:t>
            </a:r>
            <a:r>
              <a:rPr lang="en-US" sz="1800" dirty="0" smtClean="0"/>
              <a:t>With </a:t>
            </a:r>
            <a:r>
              <a:rPr lang="en-US" sz="1800" dirty="0"/>
              <a:t>its functions </a:t>
            </a:r>
            <a:r>
              <a:rPr lang="en-US" sz="1800" dirty="0" smtClean="0"/>
              <a:t>copes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tim@hater.com </a:t>
            </a:r>
            <a:endParaRPr lang="en-US" sz="18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7007" y="3416861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21006" y="3421001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9198" y="3421001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399" y="900223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 bwMode="gray">
          <a:xfrm>
            <a:off x="1858166" y="932121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15219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42881" y="708837"/>
            <a:ext cx="4522254" cy="55147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93691" y="861812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.</a:t>
            </a:r>
          </a:p>
          <a:p>
            <a:r>
              <a:rPr lang="en-US" sz="1800" dirty="0"/>
              <a:t>— joe@thomas.com </a:t>
            </a:r>
          </a:p>
          <a:p>
            <a:endParaRPr lang="en-US" sz="1800" b="1" dirty="0"/>
          </a:p>
          <a:p>
            <a:r>
              <a:rPr lang="en-US" sz="1800" b="1" dirty="0"/>
              <a:t> 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en-US" sz="1800" b="1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1265338" y="3200125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4" name="Rounded Rectangle 13"/>
          <p:cNvSpPr/>
          <p:nvPr/>
        </p:nvSpPr>
        <p:spPr bwMode="auto">
          <a:xfrm>
            <a:off x="3402418" y="5668016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265337" y="3568259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Isosceles Triangle 17"/>
          <p:cNvSpPr/>
          <p:nvPr/>
        </p:nvSpPr>
        <p:spPr bwMode="gray">
          <a:xfrm rot="10800000">
            <a:off x="4600353" y="384275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>
            <a:off x="4595649" y="3617682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4564911" y="3579464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251161" y="4243267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Rounded Rectangle 22"/>
          <p:cNvSpPr/>
          <p:nvPr/>
        </p:nvSpPr>
        <p:spPr bwMode="gray">
          <a:xfrm>
            <a:off x="1265337" y="4912800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160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views to our produc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786986"/>
              </p:ext>
            </p:extLst>
          </p:nvPr>
        </p:nvGraphicFramePr>
        <p:xfrm>
          <a:off x="228812" y="1082709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 name: ‘Motorola XOOM™ with Wi-Fi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price: 250.00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images: [...]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I bought a few week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go.Basicall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- the most…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joe@thomas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4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The device is quite satisfied. With its functions copes.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tim@hater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78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ing over reviews in our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86488"/>
              </p:ext>
            </p:extLst>
          </p:nvPr>
        </p:nvGraphicFramePr>
        <p:xfrm>
          <a:off x="152982" y="1146503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div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24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it displaying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634472" y="1658404"/>
            <a:ext cx="3820633" cy="191936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Reviews</a:t>
            </a:r>
          </a:p>
          <a:p>
            <a:r>
              <a:rPr lang="en-US" sz="2000" b="1" dirty="0"/>
              <a:t>  </a:t>
            </a:r>
            <a:r>
              <a:rPr lang="en-US" sz="2000" b="1" dirty="0" smtClean="0"/>
              <a:t>5 </a:t>
            </a:r>
            <a:r>
              <a:rPr lang="en-US" sz="2000" b="1" dirty="0"/>
              <a:t>Stars </a:t>
            </a:r>
            <a:r>
              <a:rPr lang="en-US" sz="2000" dirty="0"/>
              <a:t>I bought a few weeks ago.</a:t>
            </a:r>
          </a:p>
          <a:p>
            <a:r>
              <a:rPr lang="en-US" sz="2000" dirty="0"/>
              <a:t>Basically - the most positive impression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 </a:t>
            </a:r>
            <a:endParaRPr lang="en-US" sz="2000" b="1" dirty="0" smtClean="0"/>
          </a:p>
          <a:p>
            <a:r>
              <a:rPr lang="en-US" sz="2000" b="1" dirty="0" smtClean="0"/>
              <a:t>  4 </a:t>
            </a:r>
            <a:r>
              <a:rPr lang="en-US" sz="2000" b="1" dirty="0"/>
              <a:t>Stars </a:t>
            </a:r>
            <a:r>
              <a:rPr lang="en-US" sz="2000" b="1" dirty="0" smtClean="0"/>
              <a:t> </a:t>
            </a:r>
            <a:r>
              <a:rPr lang="en-US" sz="2000" dirty="0" smtClean="0"/>
              <a:t>The </a:t>
            </a:r>
            <a:r>
              <a:rPr lang="en-US" sz="2000" dirty="0"/>
              <a:t>device is quite satisfied. </a:t>
            </a:r>
            <a:r>
              <a:rPr lang="en-US" sz="2000" dirty="0" smtClean="0"/>
              <a:t>With </a:t>
            </a:r>
            <a:r>
              <a:rPr lang="en-US" sz="2000" dirty="0"/>
              <a:t>its functions </a:t>
            </a:r>
            <a:r>
              <a:rPr lang="en-US" sz="2000" dirty="0" smtClean="0"/>
              <a:t>copes.</a:t>
            </a:r>
            <a:endParaRPr lang="ru-RU" sz="2000" b="1" dirty="0" err="1" smtClean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694660" y="4813005"/>
            <a:ext cx="53375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чать реализовывать форму отзыва?</a:t>
            </a:r>
          </a:p>
        </p:txBody>
      </p:sp>
    </p:spTree>
    <p:extLst>
      <p:ext uri="{BB962C8B-B14F-4D97-AF65-F5344CB8AC3E}">
        <p14:creationId xmlns:p14="http://schemas.microsoft.com/office/powerpoint/2010/main" val="365259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review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169013"/>
              </p:ext>
            </p:extLst>
          </p:nvPr>
        </p:nvGraphicFramePr>
        <p:xfrm>
          <a:off x="152982" y="1146503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...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gray">
          <a:xfrm>
            <a:off x="4807589" y="1903727"/>
            <a:ext cx="4352133" cy="358671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130046" y="2059398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5130046" y="2466979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7267126" y="4934870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5130045" y="2835113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8465061" y="3109610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8460357" y="288453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8429619" y="2846318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5115869" y="3510121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5130045" y="417965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451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kern="0" dirty="0" smtClean="0">
                <a:cs typeface="Arial" pitchFamily="34" charset="0"/>
              </a:rPr>
              <a:t>Overview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5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ing live p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217541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1" name="Freeform 30"/>
          <p:cNvSpPr/>
          <p:nvPr/>
        </p:nvSpPr>
        <p:spPr bwMode="gray">
          <a:xfrm rot="20883174">
            <a:off x="4827181" y="1906772"/>
            <a:ext cx="985324" cy="1127050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4874419" y="3121068"/>
            <a:ext cx="80088" cy="40929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gray">
          <a:xfrm>
            <a:off x="5918488" y="2143125"/>
            <a:ext cx="2292062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связать объект </a:t>
            </a:r>
            <a:r>
              <a:rPr lang="en-US" sz="1800" dirty="0" smtClean="0"/>
              <a:t>review</a:t>
            </a:r>
            <a:r>
              <a:rPr lang="ru-RU" sz="1800" dirty="0" smtClean="0"/>
              <a:t> с объектами на форме?</a:t>
            </a:r>
          </a:p>
        </p:txBody>
      </p:sp>
    </p:spTree>
    <p:extLst>
      <p:ext uri="{BB962C8B-B14F-4D97-AF65-F5344CB8AC3E}">
        <p14:creationId xmlns:p14="http://schemas.microsoft.com/office/powerpoint/2010/main" val="165473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0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model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783935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72770" y="2650812"/>
            <a:ext cx="254203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24408" y="3880644"/>
            <a:ext cx="238088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16064" y="4344693"/>
            <a:ext cx="2598735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5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3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ve preview in a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5741581" y="2828260"/>
            <a:ext cx="279120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как на самом деле мы добавляем новый отзыв?</a:t>
            </a:r>
          </a:p>
        </p:txBody>
      </p:sp>
    </p:spTree>
    <p:extLst>
      <p:ext uri="{BB962C8B-B14F-4D97-AF65-F5344CB8AC3E}">
        <p14:creationId xmlns:p14="http://schemas.microsoft.com/office/powerpoint/2010/main" val="121713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More Binding Examp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004397"/>
              </p:ext>
            </p:extLst>
          </p:nvPr>
        </p:nvGraphicFramePr>
        <p:xfrm>
          <a:off x="130293" y="174462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term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checkbox" /&gt; I agree to the terms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20220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a Checkbox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93196" y="2109712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 значение </a:t>
            </a:r>
            <a:r>
              <a:rPr lang="en-US" sz="1800" dirty="0" smtClean="0"/>
              <a:t>true </a:t>
            </a:r>
            <a:r>
              <a:rPr lang="ru-RU" sz="1800" dirty="0" smtClean="0"/>
              <a:t>или </a:t>
            </a:r>
            <a:r>
              <a:rPr lang="en-US" sz="1800" dirty="0" smtClean="0"/>
              <a:t>false</a:t>
            </a:r>
            <a:endParaRPr lang="ru-RU" sz="1800" dirty="0" smtClean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96641"/>
              </p:ext>
            </p:extLst>
          </p:nvPr>
        </p:nvGraphicFramePr>
        <p:xfrm>
          <a:off x="193196" y="3442286"/>
          <a:ext cx="7936273" cy="101955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What color would you like?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red" /&gt; Re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blue" /&gt; Blu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green" /&gt; Green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256099" y="2899869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</a:t>
            </a:r>
            <a:r>
              <a:rPr lang="en-US" sz="2000" dirty="0" smtClean="0">
                <a:latin typeface="Arial Narrow" pitchFamily="34" charset="0"/>
              </a:rPr>
              <a:t>Radio Buttons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93195" y="4665070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</a:t>
            </a:r>
            <a:r>
              <a:rPr lang="en-US" sz="1800" dirty="0" smtClean="0"/>
              <a:t> </a:t>
            </a:r>
            <a:r>
              <a:rPr lang="ru-RU" sz="1800" dirty="0" smtClean="0"/>
              <a:t>значение, которое было выбрано</a:t>
            </a:r>
          </a:p>
        </p:txBody>
      </p:sp>
    </p:spTree>
    <p:extLst>
      <p:ext uri="{BB962C8B-B14F-4D97-AF65-F5344CB8AC3E}">
        <p14:creationId xmlns:p14="http://schemas.microsoft.com/office/powerpoint/2010/main" val="207509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itialize </a:t>
            </a:r>
            <a:r>
              <a:rPr lang="en-US" b="1" dirty="0"/>
              <a:t>the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676425"/>
              </p:ext>
            </p:extLst>
          </p:nvPr>
        </p:nvGraphicFramePr>
        <p:xfrm>
          <a:off x="152982" y="1146503"/>
          <a:ext cx="8686588" cy="420928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858036" y="142187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инициализировать </a:t>
            </a:r>
            <a:r>
              <a:rPr lang="en-US" sz="1800" dirty="0" smtClean="0"/>
              <a:t>review.</a:t>
            </a:r>
          </a:p>
          <a:p>
            <a:pPr marL="0" indent="0">
              <a:buNone/>
            </a:pPr>
            <a:r>
              <a:rPr lang="ru-RU" sz="1800" dirty="0" smtClean="0"/>
              <a:t>Мы можем использовать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ru-RU" sz="1800" dirty="0" smtClean="0"/>
              <a:t>, но лучше это делать в контроллере.</a:t>
            </a:r>
          </a:p>
        </p:txBody>
      </p:sp>
    </p:spTree>
    <p:extLst>
      <p:ext uri="{BB962C8B-B14F-4D97-AF65-F5344CB8AC3E}">
        <p14:creationId xmlns:p14="http://schemas.microsoft.com/office/powerpoint/2010/main" val="166767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the Review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682575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028421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164111" y="2331603"/>
            <a:ext cx="4937898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4926611" y="320814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обновить все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, чтобы они использовали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208708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the </a:t>
            </a:r>
            <a:r>
              <a:rPr lang="en-US" b="1" dirty="0" err="1" smtClean="0"/>
              <a:t>reviewCtrl.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642700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367516" y="2799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79451" y="3067878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63971" y="3355497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76623" y="3837881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89274" y="5085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633240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40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ng-submit to make the Form Work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82693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079555"/>
              </p:ext>
            </p:extLst>
          </p:nvPr>
        </p:nvGraphicFramePr>
        <p:xfrm>
          <a:off x="417074" y="901068"/>
          <a:ext cx="5480452" cy="1755648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164111" y="3564980"/>
            <a:ext cx="441514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231023" y="2854023"/>
            <a:ext cx="823318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ng-submit</a:t>
            </a:r>
            <a:r>
              <a:rPr lang="ru-RU" sz="1800" dirty="0" smtClean="0"/>
              <a:t> позволяет нам вызвать функцию когда форма отправляется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6159796" y="4006836"/>
            <a:ext cx="246675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определить эту функцию</a:t>
            </a:r>
          </a:p>
        </p:txBody>
      </p:sp>
      <p:sp>
        <p:nvSpPr>
          <p:cNvPr id="17" name="Freeform 16"/>
          <p:cNvSpPr/>
          <p:nvPr/>
        </p:nvSpPr>
        <p:spPr bwMode="gray">
          <a:xfrm rot="20883174">
            <a:off x="7460071" y="1682195"/>
            <a:ext cx="1423988" cy="1891077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Straight Arrow Connector 17"/>
          <p:cNvCxnSpPr/>
          <p:nvPr/>
        </p:nvCxnSpPr>
        <p:spPr>
          <a:xfrm flipH="1" flipV="1">
            <a:off x="7283290" y="1820008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37746" y="1447429"/>
            <a:ext cx="3960629" cy="745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/>
      <p:bldP spid="17" grpId="0" animBg="1"/>
      <p:bldP spid="27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clean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I bought a few weeks ago.</a:t>
            </a:r>
            <a:endParaRPr lang="en-US" sz="1800" dirty="0"/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 </a:t>
            </a:r>
            <a:r>
              <a:rPr lang="en-US" sz="1800" dirty="0" smtClean="0"/>
              <a:t>I bought a few 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</p:spTree>
    <p:extLst>
      <p:ext uri="{BB962C8B-B14F-4D97-AF65-F5344CB8AC3E}">
        <p14:creationId xmlns:p14="http://schemas.microsoft.com/office/powerpoint/2010/main" val="28899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etting the Form on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57024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469043"/>
              </p:ext>
            </p:extLst>
          </p:nvPr>
        </p:nvGraphicFramePr>
        <p:xfrm>
          <a:off x="417074" y="901068"/>
          <a:ext cx="5480452" cy="2001012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909861" y="2123530"/>
            <a:ext cx="222703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55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Introduction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8" name="Content Placeholder 2"/>
          <p:cNvSpPr>
            <a:spLocks/>
          </p:cNvSpPr>
          <p:nvPr/>
        </p:nvSpPr>
        <p:spPr bwMode="gray">
          <a:xfrm>
            <a:off x="323850" y="3057744"/>
            <a:ext cx="6480398" cy="2819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зволяет делать «отзывчивый» интерфейс (</a:t>
            </a:r>
            <a:r>
              <a:rPr lang="en-US" sz="2600" dirty="0">
                <a:latin typeface="Arial Narrow" pitchFamily="34" charset="0"/>
              </a:rPr>
              <a:t>responsive</a:t>
            </a:r>
            <a:r>
              <a:rPr lang="ru-RU" sz="2600" dirty="0" smtClean="0">
                <a:latin typeface="Arial Narrow" pitchFamily="34" charset="0"/>
              </a:rPr>
              <a:t>)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ддерживает </a:t>
            </a:r>
            <a:r>
              <a:rPr lang="en-US" sz="2600" dirty="0" smtClean="0">
                <a:latin typeface="Arial Narrow" pitchFamily="34" charset="0"/>
              </a:rPr>
              <a:t>TDD</a:t>
            </a:r>
            <a:r>
              <a:rPr lang="ru-RU" sz="2600" dirty="0" smtClean="0">
                <a:latin typeface="Arial Narrow" pitchFamily="34" charset="0"/>
              </a:rPr>
              <a:t> и </a:t>
            </a:r>
            <a:r>
              <a:rPr lang="en-US" sz="2600" dirty="0" smtClean="0">
                <a:latin typeface="Arial Narrow" pitchFamily="34" charset="0"/>
              </a:rPr>
              <a:t>BDD</a:t>
            </a:r>
            <a:r>
              <a:rPr lang="ru-RU" sz="2600" dirty="0" smtClean="0">
                <a:latin typeface="Arial Narrow" pitchFamily="34" charset="0"/>
              </a:rPr>
              <a:t> техники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Отделение </a:t>
            </a:r>
            <a:r>
              <a:rPr lang="ru-RU" sz="2800" b="1" dirty="0" smtClean="0"/>
              <a:t>DO</a:t>
            </a:r>
            <a:r>
              <a:rPr lang="en-US" sz="2800" b="1" dirty="0" smtClean="0"/>
              <a:t>M</a:t>
            </a:r>
            <a:r>
              <a:rPr lang="ru-RU" sz="2800" b="1" dirty="0" smtClean="0"/>
              <a:t>-манипуляции </a:t>
            </a:r>
            <a:r>
              <a:rPr lang="ru-RU" sz="2800" b="1" dirty="0"/>
              <a:t>от логики </a:t>
            </a:r>
            <a:r>
              <a:rPr lang="ru-RU" sz="2800" b="1" dirty="0" smtClean="0"/>
              <a:t>приложения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Разделение клиентской и серверной стороны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pic>
        <p:nvPicPr>
          <p:cNvPr id="89" name="Picture 2" descr="C:\Users\bFinkels\Documents\AngularJS\AngularJS_logo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476" y="1916832"/>
            <a:ext cx="4769558" cy="126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Content Placeholder 2"/>
          <p:cNvSpPr>
            <a:spLocks/>
          </p:cNvSpPr>
          <p:nvPr/>
        </p:nvSpPr>
        <p:spPr bwMode="gray">
          <a:xfrm>
            <a:off x="323850" y="659468"/>
            <a:ext cx="6480398" cy="252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err="1">
                <a:latin typeface="Arial Narrow" pitchFamily="34" charset="0"/>
              </a:rPr>
              <a:t>Angular</a:t>
            </a:r>
            <a:r>
              <a:rPr lang="ru-RU" sz="2600" dirty="0">
                <a:latin typeface="Arial Narrow" pitchFamily="34" charset="0"/>
              </a:rPr>
              <a:t> JS– </a:t>
            </a:r>
            <a:r>
              <a:rPr lang="ru-RU" sz="2600" dirty="0" err="1">
                <a:latin typeface="Arial Narrow" pitchFamily="34" charset="0"/>
              </a:rPr>
              <a:t>фреймворк</a:t>
            </a:r>
            <a:r>
              <a:rPr lang="ru-RU" sz="2600" dirty="0">
                <a:latin typeface="Arial Narrow" pitchFamily="34" charset="0"/>
              </a:rPr>
              <a:t> для одностраничных веб-приложений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>
                <a:latin typeface="Arial Narrow" pitchFamily="34" charset="0"/>
              </a:rPr>
              <a:t>Основан на шаблоне </a:t>
            </a:r>
            <a:r>
              <a:rPr lang="en-US" sz="2600" dirty="0">
                <a:latin typeface="Arial Narrow" pitchFamily="34" charset="0"/>
              </a:rPr>
              <a:t>MVC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Первый релиз – </a:t>
            </a:r>
            <a:r>
              <a:rPr lang="ru-RU" sz="2800" b="1" dirty="0" smtClean="0"/>
              <a:t>2009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Лицензия </a:t>
            </a:r>
            <a:r>
              <a:rPr lang="en-US" sz="2800" b="1" dirty="0"/>
              <a:t>MI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m with rese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Isosceles Triangle 19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23" name="Rounded Rectangle 22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5720317" y="1614068"/>
            <a:ext cx="3096565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Если мы перезагрузим страницу в браузере, то все наши изменения пропадут, т.к. мы нигде их не сохраняем, например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297519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validation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31022" y="1223697"/>
            <a:ext cx="823318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У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есть много отличных </a:t>
            </a:r>
            <a:r>
              <a:rPr lang="ru-RU" sz="1800" dirty="0" err="1" smtClean="0"/>
              <a:t>валидаций</a:t>
            </a:r>
            <a:r>
              <a:rPr lang="ru-RU" sz="1800" dirty="0" smtClean="0"/>
              <a:t> на клиентской стороне, которые мы можем использовать вместе с нашими директивами.</a:t>
            </a:r>
          </a:p>
        </p:txBody>
      </p:sp>
    </p:spTree>
    <p:extLst>
      <p:ext uri="{BB962C8B-B14F-4D97-AF65-F5344CB8AC3E}">
        <p14:creationId xmlns:p14="http://schemas.microsoft.com/office/powerpoint/2010/main" val="26476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valid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513868"/>
              </p:ext>
            </p:extLst>
          </p:nvPr>
        </p:nvGraphicFramePr>
        <p:xfrm>
          <a:off x="0" y="921017"/>
          <a:ext cx="9491329" cy="3718560"/>
        </p:xfrm>
        <a:graphic>
          <a:graphicData uri="http://schemas.openxmlformats.org/drawingml/2006/table">
            <a:tbl>
              <a:tblPr/>
              <a:tblGrid>
                <a:gridCol w="9491329"/>
              </a:tblGrid>
              <a:tr h="352339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ame="body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&gt;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is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}}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990214" y="433608"/>
            <a:ext cx="401524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Выключает стандартную</a:t>
            </a:r>
            <a:r>
              <a:rPr lang="en-US" sz="1800" dirty="0" smtClean="0"/>
              <a:t> </a:t>
            </a:r>
            <a:r>
              <a:rPr lang="en-US" sz="1800" dirty="0"/>
              <a:t>HTML </a:t>
            </a:r>
            <a:r>
              <a:rPr lang="ru-RU" sz="1800" dirty="0" err="1" smtClean="0"/>
              <a:t>валидацию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>
            <a:off x="8248183" y="783310"/>
            <a:ext cx="216024" cy="42171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22412" y="1230393"/>
            <a:ext cx="111036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5890438" y="2008445"/>
            <a:ext cx="3115026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мечаем обязательные поля</a:t>
            </a:r>
          </a:p>
        </p:txBody>
      </p:sp>
      <p:sp>
        <p:nvSpPr>
          <p:cNvPr id="11" name="Down Arrow 10"/>
          <p:cNvSpPr/>
          <p:nvPr/>
        </p:nvSpPr>
        <p:spPr bwMode="auto">
          <a:xfrm>
            <a:off x="6912025" y="2346297"/>
            <a:ext cx="216024" cy="28349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7588117">
            <a:off x="5827511" y="1570224"/>
            <a:ext cx="219844" cy="563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8715401" y="2488042"/>
            <a:ext cx="216024" cy="59540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50589" y="1454324"/>
            <a:ext cx="931233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86041" y="2669697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98786" y="3155250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937433" y="3585540"/>
            <a:ext cx="319933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ечатаем </a:t>
            </a:r>
            <a:r>
              <a:rPr lang="ru-RU" sz="1800" dirty="0" err="1" smtClean="0"/>
              <a:t>вадилацию</a:t>
            </a:r>
            <a:r>
              <a:rPr lang="ru-RU" sz="1800" dirty="0" smtClean="0"/>
              <a:t> форм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8263" y="3644347"/>
            <a:ext cx="514167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41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40134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6261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59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770626" y="3376424"/>
            <a:ext cx="2629786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мы все ещё можем отправить эту форму, даже если она не валидна.</a:t>
            </a:r>
          </a:p>
        </p:txBody>
      </p:sp>
    </p:spTree>
    <p:extLst>
      <p:ext uri="{BB962C8B-B14F-4D97-AF65-F5344CB8AC3E}">
        <p14:creationId xmlns:p14="http://schemas.microsoft.com/office/powerpoint/2010/main" val="424155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5" grpId="0" animBg="1"/>
      <p:bldP spid="22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1846000"/>
              </p:ext>
            </p:extLst>
          </p:nvPr>
        </p:nvGraphicFramePr>
        <p:xfrm>
          <a:off x="0" y="1034431"/>
          <a:ext cx="9144000" cy="157409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57409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105246" y="2667663"/>
            <a:ext cx="565652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Мы хотим чтоб этот метод выполнялся только тогда, когда </a:t>
            </a:r>
            <a:r>
              <a:rPr lang="en-US" sz="1800" dirty="0" err="1" smtClean="0"/>
              <a:t>reviewForm</a:t>
            </a:r>
            <a:r>
              <a:rPr lang="en-US" sz="1800" dirty="0" smtClean="0"/>
              <a:t>.$valid - true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5607667" y="1669460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4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184174"/>
              </p:ext>
            </p:extLst>
          </p:nvPr>
        </p:nvGraphicFramePr>
        <p:xfrm>
          <a:off x="0" y="1034431"/>
          <a:ext cx="9144000" cy="135435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3543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 &amp;&amp;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 bwMode="gray">
          <a:xfrm>
            <a:off x="241004" y="2667662"/>
            <a:ext cx="565652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Если </a:t>
            </a:r>
            <a:r>
              <a:rPr lang="en-US" sz="1800" dirty="0" smtClean="0"/>
              <a:t>$valid</a:t>
            </a:r>
            <a:r>
              <a:rPr lang="ru-RU" sz="1800" dirty="0" smtClean="0"/>
              <a:t> – </a:t>
            </a:r>
            <a:r>
              <a:rPr lang="en-US" sz="1800" dirty="0" smtClean="0"/>
              <a:t>false</a:t>
            </a:r>
            <a:r>
              <a:rPr lang="ru-RU" sz="1800" dirty="0" smtClean="0"/>
              <a:t>, то метод </a:t>
            </a:r>
            <a:r>
              <a:rPr lang="en-US" sz="1800" dirty="0" err="1" smtClean="0"/>
              <a:t>addReview</a:t>
            </a:r>
            <a:r>
              <a:rPr lang="ru-RU" sz="1800" dirty="0" smtClean="0"/>
              <a:t> не вызовется.</a:t>
            </a: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3743425" y="1669459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54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oesn’t Submit an Invalid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557973" y="2634823"/>
            <a:ext cx="326544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нам сообщить пользователю что его форма не валидна?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2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3" grpId="0" animBg="1"/>
      <p:bldP spid="15" grpId="0" animBg="1"/>
      <p:bldP spid="22" grpId="0" animBg="1"/>
      <p:bldP spid="23" grpId="0"/>
      <p:bldP spid="24" grpId="0" animBg="1"/>
      <p:bldP spid="25" grpId="0" animBg="1"/>
      <p:bldP spid="26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Input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563007"/>
              </p:ext>
            </p:extLst>
          </p:nvPr>
        </p:nvGraphicFramePr>
        <p:xfrm>
          <a:off x="67390" y="248181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pristine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939395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before typing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971126"/>
              </p:ext>
            </p:extLst>
          </p:nvPr>
        </p:nvGraphicFramePr>
        <p:xfrm>
          <a:off x="130293" y="1074770"/>
          <a:ext cx="8921558" cy="365091"/>
        </p:xfrm>
        <a:graphic>
          <a:graphicData uri="http://schemas.openxmlformats.org/drawingml/2006/table">
            <a:tbl>
              <a:tblPr/>
              <a:tblGrid>
                <a:gridCol w="892155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292371"/>
              </p:ext>
            </p:extLst>
          </p:nvPr>
        </p:nvGraphicFramePr>
        <p:xfrm>
          <a:off x="67390" y="3647849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. . . class="ng-dirty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01328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invalid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40332"/>
              </p:ext>
            </p:extLst>
          </p:nvPr>
        </p:nvGraphicFramePr>
        <p:xfrm>
          <a:off x="67390" y="483515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dirty ng-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Content Placeholder 2"/>
          <p:cNvSpPr>
            <a:spLocks/>
          </p:cNvSpPr>
          <p:nvPr/>
        </p:nvSpPr>
        <p:spPr bwMode="gray">
          <a:xfrm>
            <a:off x="130291" y="420767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valid email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30290" y="5441818"/>
            <a:ext cx="8793969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ак что давайте выделять поле на форме, используя классы, после того, как мы начали печатать – </a:t>
            </a:r>
            <a:r>
              <a:rPr lang="en-US" sz="1800" dirty="0" smtClean="0"/>
              <a:t>ng-</a:t>
            </a:r>
            <a:r>
              <a:rPr lang="en-US" sz="1800" dirty="0" err="1" smtClean="0"/>
              <a:t>girty</a:t>
            </a:r>
            <a:r>
              <a:rPr lang="ru-RU" sz="1800" dirty="0" smtClean="0"/>
              <a:t>, показывать валидно поле или нет – </a:t>
            </a:r>
            <a:r>
              <a:rPr lang="en-US" sz="1800" dirty="0" smtClean="0"/>
              <a:t>ng-valid, ng-invalid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61626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  <p:bldP spid="13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624083"/>
              </p:ext>
            </p:extLst>
          </p:nvPr>
        </p:nvGraphicFramePr>
        <p:xfrm>
          <a:off x="0" y="827959"/>
          <a:ext cx="9144000" cy="950314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95031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250918"/>
              </p:ext>
            </p:extLst>
          </p:nvPr>
        </p:nvGraphicFramePr>
        <p:xfrm>
          <a:off x="177210" y="2490182"/>
          <a:ext cx="8816882" cy="2246376"/>
        </p:xfrm>
        <a:graphic>
          <a:graphicData uri="http://schemas.openxmlformats.org/drawingml/2006/table">
            <a:tbl>
              <a:tblPr/>
              <a:tblGrid>
                <a:gridCol w="8816882"/>
              </a:tblGrid>
              <a:tr h="95031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in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FA787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78FA89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tyle.cs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94596" y="2606469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расная граница для </a:t>
            </a:r>
            <a:r>
              <a:rPr lang="ru-RU" sz="1800" dirty="0" err="1" smtClean="0"/>
              <a:t>невалидного</a:t>
            </a:r>
            <a:endParaRPr lang="ru-RU" sz="1800" dirty="0" smtClean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3794596" y="3552767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еленая граница для валидного</a:t>
            </a:r>
          </a:p>
        </p:txBody>
      </p:sp>
    </p:spTree>
    <p:extLst>
      <p:ext uri="{BB962C8B-B14F-4D97-AF65-F5344CB8AC3E}">
        <p14:creationId xmlns:p14="http://schemas.microsoft.com/office/powerpoint/2010/main" val="10299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red and green borders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1114546" y="401792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/>
              <a:t>I bought a few weeks ago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7" y="4012308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7" name="TextBox 16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1" name="TextBox 20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95222" y="4089185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0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0" grpId="1" animBg="1"/>
      <p:bldP spid="11" grpId="0" animBg="1"/>
      <p:bldP spid="15" grpId="0" animBg="1"/>
      <p:bldP spid="16" grpId="0" animBg="1"/>
      <p:bldP spid="17" grpId="0" animBg="1"/>
      <p:bldP spid="19" grpId="0" animBg="1"/>
      <p:bldP spid="21" grpId="0" animBg="1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tandard </a:t>
            </a: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eb </a:t>
            </a:r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pp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028384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51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  <p:bldP spid="24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ML5-based type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167186"/>
              </p:ext>
            </p:extLst>
          </p:nvPr>
        </p:nvGraphicFramePr>
        <p:xfrm>
          <a:off x="130293" y="207902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email" name="email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242814" y="1224715"/>
            <a:ext cx="8482972" cy="653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Формы обычно имеют 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правила о корректных данных для полей ввода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AngularJS</a:t>
            </a:r>
            <a:r>
              <a:rPr lang="ru-RU" sz="2000" dirty="0" smtClean="0">
                <a:latin typeface="Arial Narrow" pitchFamily="34" charset="0"/>
              </a:rPr>
              <a:t> имеет встроенные </a:t>
            </a:r>
            <a:r>
              <a:rPr lang="ru-RU" sz="2000" dirty="0" err="1" smtClean="0">
                <a:latin typeface="Arial Narrow" pitchFamily="34" charset="0"/>
              </a:rPr>
              <a:t>валидаторы</a:t>
            </a:r>
            <a:r>
              <a:rPr lang="ru-RU" sz="2000" dirty="0" smtClean="0">
                <a:latin typeface="Arial Narrow" pitchFamily="34" charset="0"/>
              </a:rPr>
              <a:t> для распространённых типов полей ввода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784319"/>
              </p:ext>
            </p:extLst>
          </p:nvPr>
        </p:nvGraphicFramePr>
        <p:xfrm>
          <a:off x="130293" y="2770138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ame="homepag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424126"/>
              </p:ext>
            </p:extLst>
          </p:nvPr>
        </p:nvGraphicFramePr>
        <p:xfrm>
          <a:off x="130293" y="346834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number" name="quantity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162845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Так же можно определить длину стро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763637"/>
              </p:ext>
            </p:extLst>
          </p:nvPr>
        </p:nvGraphicFramePr>
        <p:xfrm>
          <a:off x="130293" y="463438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in=1 max=1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8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Custom 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87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efactoring our co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3790705"/>
            <a:ext cx="8482972" cy="41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У нас будет множество страниц, которым нужно </a:t>
            </a: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будет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переиспользовать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этот код 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602324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Как мы можем избежать дублирования кода?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954148"/>
              </p:ext>
            </p:extLst>
          </p:nvPr>
        </p:nvGraphicFramePr>
        <p:xfrm>
          <a:off x="284100" y="921017"/>
          <a:ext cx="8532782" cy="260190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260190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32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</a:t>
            </a:r>
            <a:r>
              <a:rPr lang="en-US" dirty="0"/>
              <a:t>ng-include </a:t>
            </a:r>
            <a:r>
              <a:rPr lang="en-US" b="1" dirty="0"/>
              <a:t>for Templat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30293" y="244391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ng-include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ожидает переменную с именем файла.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ля передачи имени непосредственно как строки нужно использовать одинарные кавыч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5824872"/>
              </p:ext>
            </p:extLst>
          </p:nvPr>
        </p:nvGraphicFramePr>
        <p:xfrm>
          <a:off x="284100" y="835968"/>
          <a:ext cx="8532782" cy="151028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include="'product-title.html'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089747"/>
              </p:ext>
            </p:extLst>
          </p:nvPr>
        </p:nvGraphicFramePr>
        <p:xfrm>
          <a:off x="191394" y="3228754"/>
          <a:ext cx="8532782" cy="774192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70529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product-title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93932"/>
              </p:ext>
            </p:extLst>
          </p:nvPr>
        </p:nvGraphicFramePr>
        <p:xfrm>
          <a:off x="290631" y="4450578"/>
          <a:ext cx="8532782" cy="142523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 class="ng-scop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pan class="ng-scope ng-binding"&gt;Awesome Multi-touch Keyboard&lt;/spa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 ng-scope ng-binding"&gt;$250.00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generated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.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22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ng-inclu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74746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ge loading differentl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7" name="Rounded Rectangle 6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3" name="Right Arrow 12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5" name="Rounded Rectangle 14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tches ng-included file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TML Returned</a:t>
            </a:r>
            <a:endParaRPr lang="ru-RU" dirty="0"/>
          </a:p>
        </p:txBody>
      </p:sp>
      <p:sp>
        <p:nvSpPr>
          <p:cNvPr id="21" name="Rounded Rectangle 20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958382" y="2776924"/>
            <a:ext cx="19304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rowser loads up</a:t>
            </a:r>
          </a:p>
          <a:p>
            <a:r>
              <a:rPr lang="en-US" dirty="0" smtClean="0"/>
              <a:t>Angular app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80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 animBg="1"/>
      <p:bldP spid="23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our First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74631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спользуя</a:t>
            </a:r>
            <a:r>
              <a:rPr lang="en-US" sz="2000" dirty="0" smtClean="0">
                <a:latin typeface="Arial Narrow" pitchFamily="34" charset="0"/>
              </a:rPr>
              <a:t> </a:t>
            </a:r>
            <a:r>
              <a:rPr lang="en-US" sz="2000" dirty="0">
                <a:latin typeface="Arial Narrow" pitchFamily="34" charset="0"/>
              </a:rPr>
              <a:t>ng-include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348318"/>
              </p:ext>
            </p:extLst>
          </p:nvPr>
        </p:nvGraphicFramePr>
        <p:xfrm>
          <a:off x="130292" y="299979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5" y="245737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err="1" smtClean="0">
                <a:latin typeface="Arial Narrow" pitchFamily="34" charset="0"/>
              </a:rPr>
              <a:t>Кастомная</a:t>
            </a:r>
            <a:r>
              <a:rPr lang="ru-RU" sz="2000" dirty="0" smtClean="0">
                <a:latin typeface="Arial Narrow" pitchFamily="34" charset="0"/>
              </a:rPr>
              <a:t> директив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79070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Наш старый код и наша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ая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а делают абсолютно одинаковые вещи. 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Зачем же использовать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ые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ы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53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irective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20502" y="800078"/>
            <a:ext cx="8702911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ирективы позволяют нам писать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ML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-код который описывает поведение, а не просто разметку нашего приложения.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661544"/>
              </p:ext>
            </p:extLst>
          </p:nvPr>
        </p:nvGraphicFramePr>
        <p:xfrm>
          <a:off x="120502" y="1752905"/>
          <a:ext cx="7936273" cy="347319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24575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side class="col-sm-3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cover&gt;&lt;/book-cover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&lt;book-rating&gt;&lt;/book-rating&gt;&lt;/h4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asid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col-sm-9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&lt;book-title&gt;&lt;/book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authors&gt;&lt;/book-author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review-text&gt;&lt;/book-review-tex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genres&gt;&lt;/book-genres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120502" y="5358074"/>
            <a:ext cx="8702911" cy="74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ы ведь можете понять что делает этот код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2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riting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3196" y="1043245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для шаблон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пределяют </a:t>
            </a:r>
            <a:r>
              <a:rPr lang="ru-RU" sz="2000" dirty="0" err="1" smtClean="0">
                <a:latin typeface="Arial Narrow" pitchFamily="34" charset="0"/>
              </a:rPr>
              <a:t>кастомный</a:t>
            </a:r>
            <a:r>
              <a:rPr lang="ru-RU" sz="2000" dirty="0" smtClean="0">
                <a:latin typeface="Arial Narrow" pitchFamily="34" charset="0"/>
              </a:rPr>
              <a:t> тэг или атрибут который раскрывается или заменяется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может содержать логику контроллер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3166212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так же могут быть использованы для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содержания сложного </a:t>
            </a:r>
            <a:r>
              <a:rPr lang="en-US" sz="2000" dirty="0" smtClean="0">
                <a:latin typeface="Arial Narrow" pitchFamily="34" charset="0"/>
              </a:rPr>
              <a:t>UI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вызовов </a:t>
            </a:r>
            <a:r>
              <a:rPr lang="ru-RU" sz="2000" dirty="0" err="1">
                <a:latin typeface="Arial Narrow" pitchFamily="34" charset="0"/>
              </a:rPr>
              <a:t>э</a:t>
            </a:r>
            <a:r>
              <a:rPr lang="ru-RU" sz="2000" dirty="0" err="1" smtClean="0">
                <a:latin typeface="Arial Narrow" pitchFamily="34" charset="0"/>
              </a:rPr>
              <a:t>вентов</a:t>
            </a:r>
            <a:r>
              <a:rPr lang="ru-RU" sz="2000" dirty="0" smtClean="0">
                <a:latin typeface="Arial Narrow" pitchFamily="34" charset="0"/>
              </a:rPr>
              <a:t> и регистрации </a:t>
            </a:r>
            <a:r>
              <a:rPr lang="ru-RU" sz="2000" dirty="0" err="1" smtClean="0">
                <a:latin typeface="Arial Narrow" pitchFamily="34" charset="0"/>
              </a:rPr>
              <a:t>эвент-хэндлеров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err="1" smtClean="0">
                <a:latin typeface="Arial Narrow" pitchFamily="34" charset="0"/>
              </a:rPr>
              <a:t>Переисползования</a:t>
            </a:r>
            <a:r>
              <a:rPr lang="ru-RU" sz="2000" dirty="0" smtClean="0">
                <a:latin typeface="Arial Narrow" pitchFamily="34" charset="0"/>
              </a:rPr>
              <a:t> общих компонентов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47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361909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790500"/>
              </p:ext>
            </p:extLst>
          </p:nvPr>
        </p:nvGraphicFramePr>
        <p:xfrm>
          <a:off x="326551" y="2217717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/A configuration object defining how your directive will work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Down Arrow 10"/>
          <p:cNvSpPr/>
          <p:nvPr/>
        </p:nvSpPr>
        <p:spPr bwMode="auto">
          <a:xfrm>
            <a:off x="2779406" y="1170358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36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ngular Web App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JSON data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596336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ATA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24" name="Curved Connector 23"/>
          <p:cNvCxnSpPr>
            <a:stCxn id="23" idx="3"/>
            <a:endCxn id="18" idx="3"/>
          </p:cNvCxnSpPr>
          <p:nvPr/>
        </p:nvCxnSpPr>
        <p:spPr bwMode="auto">
          <a:xfrm flipV="1">
            <a:off x="8244408" y="2310604"/>
            <a:ext cx="432048" cy="1911774"/>
          </a:xfrm>
          <a:prstGeom prst="curvedConnector3">
            <a:avLst>
              <a:gd name="adj1" fmla="val 18560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762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668917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0421066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286749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 smtClean="0"/>
              <a:t>E - </a:t>
            </a:r>
            <a:r>
              <a:rPr lang="ru-RU" sz="1800" dirty="0" err="1" smtClean="0"/>
              <a:t>елемент</a:t>
            </a:r>
            <a:r>
              <a:rPr lang="ru-RU" sz="1800" dirty="0" smtClean="0"/>
              <a:t>)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4" name="Down Arrow 13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Down Arrow 14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24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4" grpId="0" animBg="1"/>
      <p:bldP spid="15" grpId="0" animBg="1"/>
      <p:bldP spid="16" grpId="0" animBg="1"/>
      <p:bldP spid="17" grpId="0"/>
      <p:bldP spid="18" grpId="0" animBg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4776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ttribute vs Element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74688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</a:t>
            </a:r>
            <a:r>
              <a:rPr lang="ru-RU" sz="2000" dirty="0">
                <a:latin typeface="Arial Narrow" pitchFamily="34" charset="0"/>
              </a:rPr>
              <a:t>э</a:t>
            </a:r>
            <a:r>
              <a:rPr lang="ru-RU" sz="2000" dirty="0" smtClean="0">
                <a:latin typeface="Arial Narrow" pitchFamily="34" charset="0"/>
              </a:rPr>
              <a:t>лемент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019522"/>
              </p:ext>
            </p:extLst>
          </p:nvPr>
        </p:nvGraphicFramePr>
        <p:xfrm>
          <a:off x="130293" y="317700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6" y="263458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атрибут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31098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Следует использовать директиву-элемент для </a:t>
            </a:r>
            <a:r>
              <a:rPr lang="en-US" sz="2000" dirty="0" smtClean="0">
                <a:latin typeface="Arial Narrow" pitchFamily="34" charset="0"/>
              </a:rPr>
              <a:t>UI</a:t>
            </a:r>
            <a:r>
              <a:rPr lang="ru-RU" sz="2000" dirty="0" smtClean="0">
                <a:latin typeface="Arial Narrow" pitchFamily="34" charset="0"/>
              </a:rPr>
              <a:t> </a:t>
            </a:r>
            <a:r>
              <a:rPr lang="ru-RU" sz="2000" dirty="0" err="1" smtClean="0">
                <a:latin typeface="Arial Narrow" pitchFamily="34" charset="0"/>
              </a:rPr>
              <a:t>виджетов</a:t>
            </a:r>
            <a:r>
              <a:rPr lang="ru-RU" sz="2000" dirty="0" smtClean="0">
                <a:latin typeface="Arial Narrow" pitchFamily="34" charset="0"/>
              </a:rPr>
              <a:t> и директиву-атрибут для изменения поведения, например – подсказка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16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fining an Attribute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599728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971468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‘A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93567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/>
              <a:t>A</a:t>
            </a:r>
            <a:r>
              <a:rPr lang="en-US" sz="1800" dirty="0" smtClean="0"/>
              <a:t> - </a:t>
            </a:r>
            <a:r>
              <a:rPr lang="ru-RU" sz="1800" dirty="0" smtClean="0"/>
              <a:t>атрибут)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72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 animBg="1"/>
      <p:bldP spid="12" grpId="0" animBg="1"/>
      <p:bldP spid="13" grpId="0" animBg="1"/>
      <p:bldP spid="14" grpId="0"/>
      <p:bldP spid="15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rectives allow you to write better HTML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128305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ите динамическое веб-приложение, как вы думаете вы будете в состоянии понять функциональность, просто посмотрев на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2209281"/>
            <a:ext cx="8503344" cy="399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>
                <a:latin typeface="Arial Narrow" pitchFamily="34" charset="0"/>
              </a:rPr>
              <a:t>Нет, не так ли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130293" y="288330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ете приложение на </a:t>
            </a:r>
            <a:r>
              <a:rPr lang="en-US" sz="2000" dirty="0" smtClean="0">
                <a:latin typeface="Arial Narrow" pitchFamily="34" charset="0"/>
              </a:rPr>
              <a:t>Angular JS</a:t>
            </a:r>
            <a:r>
              <a:rPr lang="ru-RU" sz="2000" dirty="0" smtClean="0">
                <a:latin typeface="Arial Narrow" pitchFamily="34" charset="0"/>
              </a:rPr>
              <a:t>, вы должны быть в состоянии понять поведение сразу из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а.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3914662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для этого вам нужно использовать </a:t>
            </a:r>
            <a:r>
              <a:rPr lang="ru-RU" sz="2000" dirty="0" err="1" smtClean="0">
                <a:latin typeface="Arial Narrow" pitchFamily="34" charset="0"/>
              </a:rPr>
              <a:t>кастомные</a:t>
            </a:r>
            <a:r>
              <a:rPr lang="ru-RU" sz="2000" dirty="0" smtClean="0">
                <a:latin typeface="Arial Narrow" pitchFamily="34" charset="0"/>
              </a:rPr>
              <a:t> директивы, чтобы писать выразительный и богатый </a:t>
            </a:r>
            <a:r>
              <a:rPr lang="en-US" sz="2000" dirty="0" smtClean="0">
                <a:latin typeface="Arial Narrow" pitchFamily="34" charset="0"/>
              </a:rPr>
              <a:t>HTML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52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Directive Controllers </a:t>
            </a:r>
          </a:p>
        </p:txBody>
      </p:sp>
    </p:spTree>
    <p:extLst>
      <p:ext uri="{BB962C8B-B14F-4D97-AF65-F5344CB8AC3E}">
        <p14:creationId xmlns:p14="http://schemas.microsoft.com/office/powerpoint/2010/main" val="29397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viewing our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990052"/>
              </p:ext>
            </p:extLst>
          </p:nvPr>
        </p:nvGraphicFramePr>
        <p:xfrm>
          <a:off x="326551" y="1094336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595135"/>
              </p:ext>
            </p:extLst>
          </p:nvPr>
        </p:nvGraphicFramePr>
        <p:xfrm>
          <a:off x="303182" y="3136683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085610"/>
              </p:ext>
            </p:extLst>
          </p:nvPr>
        </p:nvGraphicFramePr>
        <p:xfrm>
          <a:off x="303182" y="451860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&lt;/product-title&gt; 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 bwMode="gray">
          <a:xfrm>
            <a:off x="411816" y="267971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атрибут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3241599" y="1996304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411816" y="401742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ru-RU" sz="1800" dirty="0" err="1" smtClean="0"/>
              <a:t>елемент</a:t>
            </a:r>
            <a:endParaRPr lang="ru-RU" sz="1800" dirty="0" smtClean="0"/>
          </a:p>
        </p:txBody>
      </p:sp>
      <p:sp>
        <p:nvSpPr>
          <p:cNvPr id="22" name="Down Arrow 21"/>
          <p:cNvSpPr/>
          <p:nvPr/>
        </p:nvSpPr>
        <p:spPr bwMode="auto">
          <a:xfrm>
            <a:off x="3241599" y="3408922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38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if we need a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8278948"/>
              </p:ext>
            </p:extLst>
          </p:nvPr>
        </p:nvGraphicFramePr>
        <p:xfrm>
          <a:off x="326551" y="1200662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31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173630"/>
              </p:ext>
            </p:extLst>
          </p:nvPr>
        </p:nvGraphicFramePr>
        <p:xfrm>
          <a:off x="326551" y="120066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657328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95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89116"/>
              </p:ext>
            </p:extLst>
          </p:nvPr>
        </p:nvGraphicFramePr>
        <p:xfrm>
          <a:off x="326551" y="1200662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-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249166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008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charset="0"/>
              </a:rPr>
              <a:t>API-Driven Applic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99592" y="2420888"/>
            <a:ext cx="3600400" cy="1152128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7" name="Picture 4" descr="C:\Users\bFinkels\Documents\AngularJS\datasourc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3" y="2685903"/>
            <a:ext cx="580201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13333" y="2627620"/>
            <a:ext cx="10081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</a:t>
            </a:r>
          </a:p>
          <a:p>
            <a:r>
              <a:rPr lang="en-US" dirty="0" smtClean="0"/>
              <a:t>Source</a:t>
            </a:r>
            <a:endParaRPr lang="ru-RU" dirty="0"/>
          </a:p>
        </p:txBody>
      </p:sp>
      <p:pic>
        <p:nvPicPr>
          <p:cNvPr id="9" name="Picture 5" descr="C:\Users\bFinkels\Documents\AngularJS\ap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461" y="2685903"/>
            <a:ext cx="722340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eft-Right Arrow 9"/>
          <p:cNvSpPr/>
          <p:nvPr/>
        </p:nvSpPr>
        <p:spPr bwMode="auto">
          <a:xfrm>
            <a:off x="2656713" y="2852936"/>
            <a:ext cx="864096" cy="288032"/>
          </a:xfrm>
          <a:prstGeom prst="left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6" descr="C:\Users\bFinkels\Documents\AngularJS\browser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339" y="836712"/>
            <a:ext cx="692789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C:\Users\bFinkels\Documents\AngularJS\mobi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128" y="2716362"/>
            <a:ext cx="597975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bFinkels\Documents\AngularJS\serv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3" y="4437112"/>
            <a:ext cx="497677" cy="62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 bwMode="auto">
          <a:xfrm rot="18900274">
            <a:off x="4252238" y="1792261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4644008" y="2934210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ight Arrow 15"/>
          <p:cNvSpPr/>
          <p:nvPr/>
        </p:nvSpPr>
        <p:spPr bwMode="auto">
          <a:xfrm rot="2441551">
            <a:off x="4419015" y="3983444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6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rite the Directive 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64368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0744343"/>
              </p:ext>
            </p:extLst>
          </p:nvPr>
        </p:nvGraphicFramePr>
        <p:xfrm>
          <a:off x="326551" y="3004653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69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the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34560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67609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67760" y="5578856"/>
            <a:ext cx="775398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ля начала нам нужно перенести эту функциональность вовнутрь директивы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2985033" y="4804895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2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ving the Controller Insi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513949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02281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3241599" y="2504555"/>
            <a:ext cx="398937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тем перенести ссылку на контроллер 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6169096" y="1667066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4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ed to Specify the Alia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32215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260070"/>
              </p:ext>
            </p:extLst>
          </p:nvPr>
        </p:nvGraphicFramePr>
        <p:xfrm>
          <a:off x="326551" y="300465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A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anels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498399" y="5623439"/>
            <a:ext cx="676009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это работает, используем </a:t>
            </a:r>
            <a:r>
              <a:rPr lang="en-US" sz="1800" b="1" dirty="0" smtClean="0"/>
              <a:t>panels</a:t>
            </a:r>
            <a:r>
              <a:rPr lang="ru-RU" sz="1800" b="1" dirty="0" smtClean="0"/>
              <a:t> </a:t>
            </a:r>
            <a:r>
              <a:rPr lang="ru-RU" sz="1800" dirty="0" smtClean="0"/>
              <a:t>как ссылку на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153880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</a:t>
            </a:r>
            <a:r>
              <a:rPr lang="en-US" b="1" dirty="0"/>
              <a:t>Directive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35238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Dependenci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9866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to refacto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652914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 bwMode="gray">
          <a:xfrm>
            <a:off x="5280837" y="4800734"/>
            <a:ext cx="32519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ем-ли мы это переработать?</a:t>
            </a:r>
          </a:p>
        </p:txBody>
      </p:sp>
      <p:sp>
        <p:nvSpPr>
          <p:cNvPr id="22" name="Freeform 21"/>
          <p:cNvSpPr/>
          <p:nvPr/>
        </p:nvSpPr>
        <p:spPr bwMode="gray">
          <a:xfrm rot="20883174">
            <a:off x="6741244" y="2500834"/>
            <a:ext cx="1190443" cy="1838611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Straight Arrow Connector 22"/>
          <p:cNvCxnSpPr/>
          <p:nvPr/>
        </p:nvCxnSpPr>
        <p:spPr>
          <a:xfrm flipH="1" flipV="1">
            <a:off x="6563832" y="2619535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57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tract into a new file ... products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010139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765646"/>
              </p:ext>
            </p:extLst>
          </p:nvPr>
        </p:nvGraphicFramePr>
        <p:xfrm>
          <a:off x="2122749" y="3334793"/>
          <a:ext cx="6410033" cy="1019556"/>
        </p:xfrm>
        <a:graphic>
          <a:graphicData uri="http://schemas.openxmlformats.org/drawingml/2006/table">
            <a:tbl>
              <a:tblPr/>
              <a:tblGrid>
                <a:gridCol w="641003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686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ke a new</a:t>
            </a:r>
            <a:r>
              <a:rPr lang="en-US" b="1" i="1" dirty="0"/>
              <a:t> </a:t>
            </a:r>
            <a:r>
              <a:rPr lang="en-US" b="1" dirty="0"/>
              <a:t>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113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566033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 bwMode="gray">
          <a:xfrm>
            <a:off x="3067629" y="2676450"/>
            <a:ext cx="259403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Определили новый модуль</a:t>
            </a:r>
          </a:p>
        </p:txBody>
      </p:sp>
      <p:sp>
        <p:nvSpPr>
          <p:cNvPr id="13" name="Down Arrow 12"/>
          <p:cNvSpPr/>
          <p:nvPr/>
        </p:nvSpPr>
        <p:spPr bwMode="auto">
          <a:xfrm>
            <a:off x="4647522" y="3048334"/>
            <a:ext cx="219844" cy="57291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6047049" y="2883611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6194382" y="3219148"/>
            <a:ext cx="219844" cy="36575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1" name="Freeform 30"/>
          <p:cNvSpPr/>
          <p:nvPr/>
        </p:nvSpPr>
        <p:spPr bwMode="gray">
          <a:xfrm>
            <a:off x="118700" y="1752600"/>
            <a:ext cx="1641520" cy="1897380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760220" y="3649980"/>
            <a:ext cx="93344" cy="6142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31" idx="0"/>
          </p:cNvCxnSpPr>
          <p:nvPr/>
        </p:nvCxnSpPr>
        <p:spPr>
          <a:xfrm flipV="1">
            <a:off x="914400" y="1731170"/>
            <a:ext cx="50006" cy="2143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 bwMode="gray">
          <a:xfrm>
            <a:off x="0" y="3300278"/>
            <a:ext cx="1630326" cy="22886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но использовать переменную </a:t>
            </a:r>
            <a:r>
              <a:rPr lang="en-US" sz="1800" dirty="0" smtClean="0"/>
              <a:t>app</a:t>
            </a:r>
            <a:r>
              <a:rPr lang="ru-RU" sz="1800" dirty="0" smtClean="0"/>
              <a:t> и там и там, так как она находится в разных областях видимости</a:t>
            </a:r>
          </a:p>
        </p:txBody>
      </p:sp>
    </p:spTree>
    <p:extLst>
      <p:ext uri="{BB962C8B-B14F-4D97-AF65-F5344CB8AC3E}">
        <p14:creationId xmlns:p14="http://schemas.microsoft.com/office/powerpoint/2010/main" val="301921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  <p:bldP spid="15" grpId="0" animBg="1"/>
      <p:bldP spid="31" grpId="0" animBg="1"/>
      <p:bldP spid="43" grpId="0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 it to the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December 16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369456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store-products'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773259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586976" y="2566522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9" name="Down Arrow 8"/>
          <p:cNvSpPr/>
          <p:nvPr/>
        </p:nvSpPr>
        <p:spPr bwMode="auto">
          <a:xfrm>
            <a:off x="6194382" y="3019648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864616" y="2001264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531348" y="1171122"/>
            <a:ext cx="307635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store </a:t>
            </a:r>
            <a:r>
              <a:rPr lang="ru-RU" sz="1800" dirty="0" smtClean="0"/>
              <a:t>зависит от </a:t>
            </a:r>
            <a:r>
              <a:rPr lang="en-US" sz="1800" dirty="0" smtClean="0"/>
              <a:t>store-products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327090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T-Systems_MASTER_4-3_EN_20160108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10977</Words>
  <Application>Microsoft Office PowerPoint</Application>
  <PresentationFormat>On-screen Show (4:3)</PresentationFormat>
  <Paragraphs>2176</Paragraphs>
  <Slides>15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6</vt:i4>
      </vt:variant>
    </vt:vector>
  </HeadingPairs>
  <TitlesOfParts>
    <vt:vector size="170" baseType="lpstr">
      <vt:lpstr>Arial</vt:lpstr>
      <vt:lpstr>Tele-GroteskNor</vt:lpstr>
      <vt:lpstr>Tele-GroteskFet</vt:lpstr>
      <vt:lpstr>TeleGrotesk Headline Ultra</vt:lpstr>
      <vt:lpstr>Courier New</vt:lpstr>
      <vt:lpstr>Arial Narrow</vt:lpstr>
      <vt:lpstr>Tele-GroteskUlt</vt:lpstr>
      <vt:lpstr>Tele-GroteskNCNor</vt:lpstr>
      <vt:lpstr>Wingdings 2</vt:lpstr>
      <vt:lpstr>Wingdings</vt:lpstr>
      <vt:lpstr>TeleGrotesk Headline</vt:lpstr>
      <vt:lpstr>Arial Unicode MS</vt:lpstr>
      <vt:lpstr>T-Systems_MASTER_4-3_EN_20160108</vt:lpstr>
      <vt:lpstr>think-cell Folie</vt:lpstr>
      <vt:lpstr>PowerPoint Presentation</vt:lpstr>
      <vt:lpstr>PowerPoint Presentation</vt:lpstr>
      <vt:lpstr>Your skills</vt:lpstr>
      <vt:lpstr>Agenda  </vt:lpstr>
      <vt:lpstr>Overview</vt:lpstr>
      <vt:lpstr>Introduction</vt:lpstr>
      <vt:lpstr>Standard Web App</vt:lpstr>
      <vt:lpstr>Angular Web App</vt:lpstr>
      <vt:lpstr>API-Driven Application</vt:lpstr>
      <vt:lpstr>What is Angular JS?</vt:lpstr>
      <vt:lpstr>Directives</vt:lpstr>
      <vt:lpstr>Getting started</vt:lpstr>
      <vt:lpstr>Modules</vt:lpstr>
      <vt:lpstr>Create module</vt:lpstr>
      <vt:lpstr>Including our module</vt:lpstr>
      <vt:lpstr>Expressions</vt:lpstr>
      <vt:lpstr>Expressions</vt:lpstr>
      <vt:lpstr>Directives</vt:lpstr>
      <vt:lpstr>Directives</vt:lpstr>
      <vt:lpstr>Code example</vt:lpstr>
      <vt:lpstr>Filter</vt:lpstr>
      <vt:lpstr>Filters</vt:lpstr>
      <vt:lpstr>Image data</vt:lpstr>
      <vt:lpstr>Ng-src for images</vt:lpstr>
      <vt:lpstr>Tabs</vt:lpstr>
      <vt:lpstr>Tabs</vt:lpstr>
      <vt:lpstr>Tabs</vt:lpstr>
      <vt:lpstr>Tabs</vt:lpstr>
      <vt:lpstr>2-way data binding</vt:lpstr>
      <vt:lpstr>Tab content panels</vt:lpstr>
      <vt:lpstr>Trigger tabs</vt:lpstr>
      <vt:lpstr>Trigger tabs</vt:lpstr>
      <vt:lpstr>No initial tab</vt:lpstr>
      <vt:lpstr>Setting initial value</vt:lpstr>
      <vt:lpstr>initial tab</vt:lpstr>
      <vt:lpstr>Setting active tab</vt:lpstr>
      <vt:lpstr>With active class</vt:lpstr>
      <vt:lpstr>Pull logic to controller</vt:lpstr>
      <vt:lpstr>Pull logic to controller</vt:lpstr>
      <vt:lpstr>Pull logic to controller</vt:lpstr>
      <vt:lpstr>Pull logic to controller</vt:lpstr>
      <vt:lpstr>With logic in controller</vt:lpstr>
      <vt:lpstr>Forms and Models</vt:lpstr>
      <vt:lpstr>Add a Review</vt:lpstr>
      <vt:lpstr>Add a review</vt:lpstr>
      <vt:lpstr>Adding reviews to our products</vt:lpstr>
      <vt:lpstr>Looping over reviews in our tab</vt:lpstr>
      <vt:lpstr>How is it displaying?</vt:lpstr>
      <vt:lpstr>Creating review form</vt:lpstr>
      <vt:lpstr>Implementing live preview</vt:lpstr>
      <vt:lpstr>Ng-model directive</vt:lpstr>
      <vt:lpstr>Live preview in action</vt:lpstr>
      <vt:lpstr>Two More Binding Examples</vt:lpstr>
      <vt:lpstr>Initialize the Review</vt:lpstr>
      <vt:lpstr>Creating the Review Controller</vt:lpstr>
      <vt:lpstr>Using the reviewCtrl.review</vt:lpstr>
      <vt:lpstr>Using ng-submit to make the Form Work</vt:lpstr>
      <vt:lpstr>Need clean form</vt:lpstr>
      <vt:lpstr>Resetting the Form on Submit</vt:lpstr>
      <vt:lpstr>Form with reset</vt:lpstr>
      <vt:lpstr>What about validations?</vt:lpstr>
      <vt:lpstr>Now with validation</vt:lpstr>
      <vt:lpstr>With validations</vt:lpstr>
      <vt:lpstr>Preventing the Submit</vt:lpstr>
      <vt:lpstr>Preventing the Submit</vt:lpstr>
      <vt:lpstr>Doesn’t Submit an Invalid Form</vt:lpstr>
      <vt:lpstr>The Input Classes</vt:lpstr>
      <vt:lpstr>CSS Classes</vt:lpstr>
      <vt:lpstr>Now with red and green borders!</vt:lpstr>
      <vt:lpstr>HTML5-based type validations</vt:lpstr>
      <vt:lpstr>Custom Directives</vt:lpstr>
      <vt:lpstr>Refactoring our code</vt:lpstr>
      <vt:lpstr>Using ng-include for Templates</vt:lpstr>
      <vt:lpstr>With ng-include</vt:lpstr>
      <vt:lpstr>Page loading differently</vt:lpstr>
      <vt:lpstr>Creating our First Custom Directive</vt:lpstr>
      <vt:lpstr>Why Directives?</vt:lpstr>
      <vt:lpstr>Writing Custom Directives</vt:lpstr>
      <vt:lpstr>How to Build Custom Directives</vt:lpstr>
      <vt:lpstr>How to Build Custom Directives</vt:lpstr>
      <vt:lpstr>With custom directive</vt:lpstr>
      <vt:lpstr>Attribute vs Element Directives</vt:lpstr>
      <vt:lpstr>Defining an Attribute Directive</vt:lpstr>
      <vt:lpstr>Directives allow you to write better HTML</vt:lpstr>
      <vt:lpstr>Directive Controllers </vt:lpstr>
      <vt:lpstr>Reviewing our Directive</vt:lpstr>
      <vt:lpstr>What if we need a Controller?</vt:lpstr>
      <vt:lpstr>First, extract the template...</vt:lpstr>
      <vt:lpstr>First, extract the template...</vt:lpstr>
      <vt:lpstr>Now write the Directive ...</vt:lpstr>
      <vt:lpstr>What about the Controller?</vt:lpstr>
      <vt:lpstr>Moving the Controller Inside</vt:lpstr>
      <vt:lpstr>Need to Specify the Alias</vt:lpstr>
      <vt:lpstr>With Directive Controller</vt:lpstr>
      <vt:lpstr>Dependencies</vt:lpstr>
      <vt:lpstr>Need to refactor?</vt:lpstr>
      <vt:lpstr>Extract into a new file ... products.js</vt:lpstr>
      <vt:lpstr>Make a new Module</vt:lpstr>
      <vt:lpstr>Add it to the dependencies</vt:lpstr>
      <vt:lpstr>We’ll also need to include the file</vt:lpstr>
      <vt:lpstr>With two modules</vt:lpstr>
      <vt:lpstr> Services </vt:lpstr>
      <vt:lpstr>Does this feel strange?</vt:lpstr>
      <vt:lpstr>How do we get that data?</vt:lpstr>
      <vt:lpstr>We need a Service!</vt:lpstr>
      <vt:lpstr>Introducing the $http Service!</vt:lpstr>
      <vt:lpstr>How does a Controller use a Service like $http?</vt:lpstr>
      <vt:lpstr>HOW Angular DI works?</vt:lpstr>
      <vt:lpstr>Time for injection!</vt:lpstr>
      <vt:lpstr>Let’s use our Service!</vt:lpstr>
      <vt:lpstr>Our Service will Return Data</vt:lpstr>
      <vt:lpstr>Storing the Data for use in our Page</vt:lpstr>
      <vt:lpstr>Initialize Products to be a Blank Array</vt:lpstr>
      <vt:lpstr>With Service</vt:lpstr>
      <vt:lpstr>Additional $http functionality</vt:lpstr>
      <vt:lpstr> Bonus</vt:lpstr>
      <vt:lpstr>AngularJS  full environment</vt:lpstr>
      <vt:lpstr>AngularJS  full environment</vt:lpstr>
      <vt:lpstr>AngularJS  full environment</vt:lpstr>
      <vt:lpstr>Package.json</vt:lpstr>
      <vt:lpstr>Node.js</vt:lpstr>
      <vt:lpstr>NPM</vt:lpstr>
      <vt:lpstr>NPM and Package.json</vt:lpstr>
      <vt:lpstr>NPM and Package.json</vt:lpstr>
      <vt:lpstr>NPM and Package.json</vt:lpstr>
      <vt:lpstr>NPM and Package.json</vt:lpstr>
      <vt:lpstr>NPM and Package.json</vt:lpstr>
      <vt:lpstr>NPM and Package.json</vt:lpstr>
      <vt:lpstr>Bower</vt:lpstr>
      <vt:lpstr>Bower</vt:lpstr>
      <vt:lpstr>Bower and Bower.json</vt:lpstr>
      <vt:lpstr>Run Application</vt:lpstr>
      <vt:lpstr>Testing</vt:lpstr>
      <vt:lpstr>Jasmine</vt:lpstr>
      <vt:lpstr>Karma</vt:lpstr>
      <vt:lpstr>Karma</vt:lpstr>
      <vt:lpstr>End-to-End Tests</vt:lpstr>
      <vt:lpstr>Protractor</vt:lpstr>
      <vt:lpstr>Run End-to-End Tests</vt:lpstr>
      <vt:lpstr>JSHINT</vt:lpstr>
      <vt:lpstr>JSHINT</vt:lpstr>
      <vt:lpstr>Travis CI</vt:lpstr>
      <vt:lpstr>HTML5 Boilerplate </vt:lpstr>
      <vt:lpstr>AngularJS  Security</vt:lpstr>
      <vt:lpstr>Best practices</vt:lpstr>
      <vt:lpstr>Preventing cross-site scripting (XSS) </vt:lpstr>
      <vt:lpstr>Angular’s cross-site scripting</vt:lpstr>
      <vt:lpstr>Angular’s cross-site scripting</vt:lpstr>
      <vt:lpstr>Server-side XSS protection </vt:lpstr>
      <vt:lpstr>Strict Contextual Escaping </vt:lpstr>
      <vt:lpstr>HTTP-level vulnerabilities</vt:lpstr>
      <vt:lpstr>Cross-site request forgery(CSRF or XSRF) </vt:lpstr>
      <vt:lpstr>Cross-site request forgery(CSRF or XSRF) </vt:lpstr>
      <vt:lpstr>Cross-site request forgery(CSRF or XSRF) </vt:lpstr>
      <vt:lpstr>Cross-site script inclusion (XSSI)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17T21:54:32Z</dcterms:created>
  <dcterms:modified xsi:type="dcterms:W3CDTF">2016-12-19T13:08:40Z</dcterms:modified>
</cp:coreProperties>
</file>